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4"/>
  </p:sldMasterIdLst>
  <p:notesMasterIdLst>
    <p:notesMasterId r:id="rId27"/>
  </p:notesMasterIdLst>
  <p:sldIdLst>
    <p:sldId id="2147479427" r:id="rId5"/>
    <p:sldId id="2147479398" r:id="rId6"/>
    <p:sldId id="293" r:id="rId7"/>
    <p:sldId id="2147479409" r:id="rId8"/>
    <p:sldId id="280" r:id="rId9"/>
    <p:sldId id="2147479423" r:id="rId10"/>
    <p:sldId id="2147479445" r:id="rId11"/>
    <p:sldId id="2147479347" r:id="rId12"/>
    <p:sldId id="2147479328" r:id="rId13"/>
    <p:sldId id="2147479382" r:id="rId14"/>
    <p:sldId id="2147479431" r:id="rId15"/>
    <p:sldId id="2147479327" r:id="rId16"/>
    <p:sldId id="2147479434" r:id="rId17"/>
    <p:sldId id="2147479439" r:id="rId18"/>
    <p:sldId id="2147479453" r:id="rId19"/>
    <p:sldId id="274" r:id="rId20"/>
    <p:sldId id="2147479455" r:id="rId21"/>
    <p:sldId id="2147479422" r:id="rId22"/>
    <p:sldId id="2147479433" r:id="rId23"/>
    <p:sldId id="2147479415" r:id="rId24"/>
    <p:sldId id="2147479414" r:id="rId25"/>
    <p:sldId id="2147479454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5447300-361B-BC9E-7192-9BAE504094CA}" name="Martin POVH (ACER)" initials="MP" userId="S::Martin.POVH@acer.europa.eu::b625b410-6343-4e0c-ae2b-c023ec4b259b" providerId="AD"/>
  <p188:author id="{00819004-34C2-2487-CF44-0140626224AE}" name="Ignacio MUNIOZGUREN GARCIA (ACER)" initials="IM" userId="S::Ignacio.MUNIOZGURENGARCIA@acer.europa.eu::b4b68ca2-c786-40d7-af41-7249f9a11048" providerId="AD"/>
  <p188:author id="{A4D2F017-8BD8-8265-F64F-C39847F118C4}" name="Zoran Vujasinovic (ACER)" initials="ZV" userId="Zoran Vujasinovic (ACER)" providerId="None"/>
  <p188:author id="{E03893A8-3ABC-F43D-5BCF-CC2B25730582}" name="Natalia PARASKEVOPOULOU (ACER)" initials="N(" userId="S::natalia.paraskevopoulou@acer.europa.eu::ff0af89a-6dd4-4797-a431-66cea73ae495" providerId="AD"/>
  <p188:author id="{BFC0B8BC-3138-C6BD-AB17-47BD4081D14F}" name="Mathieu FRANSEN (ACER)" initials="MF" userId="S::Mathieu.FRANSEN@acer.europa.eu::f7fb3780-5afe-4de0-99ac-d1f55bcc0839" providerId="AD"/>
  <p188:author id="{1F1E34C7-7AA5-2F44-E506-84B2AC474200}" name="ZV (ACER)" initials="AV (ACER)" userId="ZV (ACER)" providerId="None"/>
  <p188:author id="{FF0C21F6-FEAA-499A-C96D-E1A6C6E1A2A0}" name="Natalia PARASKEVOPOULOU (ACER)" initials="" userId="S::Natalia.PARASKEVOPOULOU@acer.europa.eu::ff0af89a-6dd4-4797-a431-66cea73ae49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78BD"/>
    <a:srgbClr val="96CD78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82A13E-6408-4B3F-8777-5EC5EF78C20B}" v="1302" dt="2026-02-05T14:11:28.773"/>
    <p1510:client id="{9BD052AE-B2C3-428D-BF55-93E1BB088DA5}" v="268" dt="2026-02-05T14:10:12.698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–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–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alia PARASKEVOPOULOU (ACER)" userId="S::natalia.paraskevopoulou@acer.europa.eu::ff0af89a-6dd4-4797-a431-66cea73ae495" providerId="AD" clId="Web-{3EE95B74-04C7-71BC-8970-48FC923670C7}"/>
    <pc:docChg chg="modSld">
      <pc:chgData name="Natalia PARASKEVOPOULOU (ACER)" userId="S::natalia.paraskevopoulou@acer.europa.eu::ff0af89a-6dd4-4797-a431-66cea73ae495" providerId="AD" clId="Web-{3EE95B74-04C7-71BC-8970-48FC923670C7}" dt="2026-01-22T12:56:46.537" v="2" actId="1076"/>
      <pc:docMkLst>
        <pc:docMk/>
      </pc:docMkLst>
      <pc:sldChg chg="addSp delSp modSp">
        <pc:chgData name="Natalia PARASKEVOPOULOU (ACER)" userId="S::natalia.paraskevopoulou@acer.europa.eu::ff0af89a-6dd4-4797-a431-66cea73ae495" providerId="AD" clId="Web-{3EE95B74-04C7-71BC-8970-48FC923670C7}" dt="2026-01-22T12:56:46.537" v="2" actId="1076"/>
        <pc:sldMkLst>
          <pc:docMk/>
          <pc:sldMk cId="2150885860" sldId="2147479414"/>
        </pc:sldMkLst>
      </pc:sldChg>
    </pc:docChg>
  </pc:docChgLst>
  <pc:docChgLst>
    <pc:chgData name="Natalia PARASKEVOPOULOU (ACER)" userId="ff0af89a-6dd4-4797-a431-66cea73ae495" providerId="ADAL" clId="{C858381A-57C7-457B-BDDA-CD186440E363}"/>
    <pc:docChg chg="undo custSel addSld delSld modSld">
      <pc:chgData name="Natalia PARASKEVOPOULOU (ACER)" userId="ff0af89a-6dd4-4797-a431-66cea73ae495" providerId="ADAL" clId="{C858381A-57C7-457B-BDDA-CD186440E363}" dt="2026-01-22T15:26:02.802" v="430" actId="47"/>
      <pc:docMkLst>
        <pc:docMk/>
      </pc:docMkLst>
      <pc:sldChg chg="addSp delSp modSp mod">
        <pc:chgData name="Natalia PARASKEVOPOULOU (ACER)" userId="ff0af89a-6dd4-4797-a431-66cea73ae495" providerId="ADAL" clId="{C858381A-57C7-457B-BDDA-CD186440E363}" dt="2026-01-22T15:16:44.281" v="304" actId="20577"/>
        <pc:sldMkLst>
          <pc:docMk/>
          <pc:sldMk cId="2150885860" sldId="2147479414"/>
        </pc:sldMkLst>
        <pc:spChg chg="mod">
          <ac:chgData name="Natalia PARASKEVOPOULOU (ACER)" userId="ff0af89a-6dd4-4797-a431-66cea73ae495" providerId="ADAL" clId="{C858381A-57C7-457B-BDDA-CD186440E363}" dt="2026-01-22T15:16:44.281" v="304" actId="20577"/>
          <ac:spMkLst>
            <pc:docMk/>
            <pc:sldMk cId="2150885860" sldId="2147479414"/>
            <ac:spMk id="5" creationId="{1F6A7C4A-8AC5-2908-599D-5533B86FAFBB}"/>
          </ac:spMkLst>
        </pc:spChg>
        <pc:spChg chg="mod">
          <ac:chgData name="Natalia PARASKEVOPOULOU (ACER)" userId="ff0af89a-6dd4-4797-a431-66cea73ae495" providerId="ADAL" clId="{C858381A-57C7-457B-BDDA-CD186440E363}" dt="2026-01-22T15:16:38.697" v="303" actId="20577"/>
          <ac:spMkLst>
            <pc:docMk/>
            <pc:sldMk cId="2150885860" sldId="2147479414"/>
            <ac:spMk id="7" creationId="{CF0A9FB4-83CF-B5BB-62A5-0BC0F96E4F8F}"/>
          </ac:spMkLst>
        </pc:spChg>
        <pc:spChg chg="mod">
          <ac:chgData name="Natalia PARASKEVOPOULOU (ACER)" userId="ff0af89a-6dd4-4797-a431-66cea73ae495" providerId="ADAL" clId="{C858381A-57C7-457B-BDDA-CD186440E363}" dt="2026-01-22T15:12:15.648" v="246" actId="164"/>
          <ac:spMkLst>
            <pc:docMk/>
            <pc:sldMk cId="2150885860" sldId="2147479414"/>
            <ac:spMk id="16" creationId="{916F87AA-FE12-4D9B-AA7A-2050AF909504}"/>
          </ac:spMkLst>
        </pc:spChg>
        <pc:spChg chg="mod">
          <ac:chgData name="Natalia PARASKEVOPOULOU (ACER)" userId="ff0af89a-6dd4-4797-a431-66cea73ae495" providerId="ADAL" clId="{C858381A-57C7-457B-BDDA-CD186440E363}" dt="2026-01-22T15:12:15.648" v="246" actId="164"/>
          <ac:spMkLst>
            <pc:docMk/>
            <pc:sldMk cId="2150885860" sldId="2147479414"/>
            <ac:spMk id="18" creationId="{DA1FD894-14BD-21D8-3124-B68CDEBAF3F4}"/>
          </ac:spMkLst>
        </pc:spChg>
        <pc:spChg chg="mod">
          <ac:chgData name="Natalia PARASKEVOPOULOU (ACER)" userId="ff0af89a-6dd4-4797-a431-66cea73ae495" providerId="ADAL" clId="{C858381A-57C7-457B-BDDA-CD186440E363}" dt="2026-01-22T15:12:33.855" v="250" actId="164"/>
          <ac:spMkLst>
            <pc:docMk/>
            <pc:sldMk cId="2150885860" sldId="2147479414"/>
            <ac:spMk id="19" creationId="{4519F68F-B3DE-BF87-2422-138F95CFAAE2}"/>
          </ac:spMkLst>
        </pc:spChg>
        <pc:spChg chg="mod">
          <ac:chgData name="Natalia PARASKEVOPOULOU (ACER)" userId="ff0af89a-6dd4-4797-a431-66cea73ae495" providerId="ADAL" clId="{C858381A-57C7-457B-BDDA-CD186440E363}" dt="2026-01-22T15:12:33.855" v="250" actId="164"/>
          <ac:spMkLst>
            <pc:docMk/>
            <pc:sldMk cId="2150885860" sldId="2147479414"/>
            <ac:spMk id="20" creationId="{FDB03BF3-3D95-CB3A-9A97-592FB51659D6}"/>
          </ac:spMkLst>
        </pc:spChg>
        <pc:spChg chg="mod">
          <ac:chgData name="Natalia PARASKEVOPOULOU (ACER)" userId="ff0af89a-6dd4-4797-a431-66cea73ae495" providerId="ADAL" clId="{C858381A-57C7-457B-BDDA-CD186440E363}" dt="2026-01-22T15:12:15.648" v="246" actId="164"/>
          <ac:spMkLst>
            <pc:docMk/>
            <pc:sldMk cId="2150885860" sldId="2147479414"/>
            <ac:spMk id="21" creationId="{9516975D-DE26-7E24-C1D0-D7791F951F77}"/>
          </ac:spMkLst>
        </pc:spChg>
        <pc:spChg chg="mod">
          <ac:chgData name="Natalia PARASKEVOPOULOU (ACER)" userId="ff0af89a-6dd4-4797-a431-66cea73ae495" providerId="ADAL" clId="{C858381A-57C7-457B-BDDA-CD186440E363}" dt="2026-01-22T15:11:31.480" v="241" actId="164"/>
          <ac:spMkLst>
            <pc:docMk/>
            <pc:sldMk cId="2150885860" sldId="2147479414"/>
            <ac:spMk id="22" creationId="{16757E2A-8A4D-35DD-D2D7-69CE784846E5}"/>
          </ac:spMkLst>
        </pc:spChg>
        <pc:spChg chg="mod">
          <ac:chgData name="Natalia PARASKEVOPOULOU (ACER)" userId="ff0af89a-6dd4-4797-a431-66cea73ae495" providerId="ADAL" clId="{C858381A-57C7-457B-BDDA-CD186440E363}" dt="2026-01-22T15:11:31.480" v="241" actId="164"/>
          <ac:spMkLst>
            <pc:docMk/>
            <pc:sldMk cId="2150885860" sldId="2147479414"/>
            <ac:spMk id="23" creationId="{8103D64B-4613-086C-F1E9-F0D143975E07}"/>
          </ac:spMkLst>
        </pc:spChg>
        <pc:spChg chg="mod">
          <ac:chgData name="Natalia PARASKEVOPOULOU (ACER)" userId="ff0af89a-6dd4-4797-a431-66cea73ae495" providerId="ADAL" clId="{C858381A-57C7-457B-BDDA-CD186440E363}" dt="2026-01-22T15:11:31.480" v="241" actId="164"/>
          <ac:spMkLst>
            <pc:docMk/>
            <pc:sldMk cId="2150885860" sldId="2147479414"/>
            <ac:spMk id="25" creationId="{88D1EBB5-6AEC-40F3-F481-7D97884F96B3}"/>
          </ac:spMkLst>
        </pc:spChg>
        <pc:grpChg chg="add mod">
          <ac:chgData name="Natalia PARASKEVOPOULOU (ACER)" userId="ff0af89a-6dd4-4797-a431-66cea73ae495" providerId="ADAL" clId="{C858381A-57C7-457B-BDDA-CD186440E363}" dt="2026-01-22T15:15:22.730" v="280" actId="1076"/>
          <ac:grpSpMkLst>
            <pc:docMk/>
            <pc:sldMk cId="2150885860" sldId="2147479414"/>
            <ac:grpSpMk id="6" creationId="{477E6AF1-AE90-7F23-AAC5-11067D38B4E8}"/>
          </ac:grpSpMkLst>
        </pc:grpChg>
        <pc:grpChg chg="add mod">
          <ac:chgData name="Natalia PARASKEVOPOULOU (ACER)" userId="ff0af89a-6dd4-4797-a431-66cea73ae495" providerId="ADAL" clId="{C858381A-57C7-457B-BDDA-CD186440E363}" dt="2026-01-22T15:12:33.855" v="250" actId="164"/>
          <ac:grpSpMkLst>
            <pc:docMk/>
            <pc:sldMk cId="2150885860" sldId="2147479414"/>
            <ac:grpSpMk id="15" creationId="{97C1E0A3-243D-8341-104C-E6E100514819}"/>
          </ac:grpSpMkLst>
        </pc:grpChg>
        <pc:grpChg chg="add mod">
          <ac:chgData name="Natalia PARASKEVOPOULOU (ACER)" userId="ff0af89a-6dd4-4797-a431-66cea73ae495" providerId="ADAL" clId="{C858381A-57C7-457B-BDDA-CD186440E363}" dt="2026-01-22T15:15:14.947" v="279" actId="1076"/>
          <ac:grpSpMkLst>
            <pc:docMk/>
            <pc:sldMk cId="2150885860" sldId="2147479414"/>
            <ac:grpSpMk id="17" creationId="{A9295224-7BC2-1E15-3C26-86D5DA81330A}"/>
          </ac:grpSpMkLst>
        </pc:grpChg>
        <pc:picChg chg="mod modCrop">
          <ac:chgData name="Natalia PARASKEVOPOULOU (ACER)" userId="ff0af89a-6dd4-4797-a431-66cea73ae495" providerId="ADAL" clId="{C858381A-57C7-457B-BDDA-CD186440E363}" dt="2026-01-22T15:11:31.480" v="241" actId="164"/>
          <ac:picMkLst>
            <pc:docMk/>
            <pc:sldMk cId="2150885860" sldId="2147479414"/>
            <ac:picMk id="12" creationId="{C16282D5-1A58-D644-BC8C-8D2C7B64104E}"/>
          </ac:picMkLst>
        </pc:picChg>
        <pc:picChg chg="mod modCrop">
          <ac:chgData name="Natalia PARASKEVOPOULOU (ACER)" userId="ff0af89a-6dd4-4797-a431-66cea73ae495" providerId="ADAL" clId="{C858381A-57C7-457B-BDDA-CD186440E363}" dt="2026-01-22T15:12:15.648" v="246" actId="164"/>
          <ac:picMkLst>
            <pc:docMk/>
            <pc:sldMk cId="2150885860" sldId="2147479414"/>
            <ac:picMk id="13" creationId="{472EAE36-E2D6-032E-A904-A4A578128D4F}"/>
          </ac:picMkLst>
        </pc:picChg>
        <pc:picChg chg="add mod modCrop">
          <ac:chgData name="Natalia PARASKEVOPOULOU (ACER)" userId="ff0af89a-6dd4-4797-a431-66cea73ae495" providerId="ADAL" clId="{C858381A-57C7-457B-BDDA-CD186440E363}" dt="2026-01-22T15:15:03.797" v="277" actId="1076"/>
          <ac:picMkLst>
            <pc:docMk/>
            <pc:sldMk cId="2150885860" sldId="2147479414"/>
            <ac:picMk id="34" creationId="{1B653DF3-1C93-EFDB-C407-7FC90BCAA95C}"/>
          </ac:picMkLst>
        </pc:picChg>
        <pc:picChg chg="add mod modCrop">
          <ac:chgData name="Natalia PARASKEVOPOULOU (ACER)" userId="ff0af89a-6dd4-4797-a431-66cea73ae495" providerId="ADAL" clId="{C858381A-57C7-457B-BDDA-CD186440E363}" dt="2026-01-22T15:14:58.813" v="276" actId="1076"/>
          <ac:picMkLst>
            <pc:docMk/>
            <pc:sldMk cId="2150885860" sldId="2147479414"/>
            <ac:picMk id="36" creationId="{2E6432AB-A713-F019-8540-E28CFD01FDC9}"/>
          </ac:picMkLst>
        </pc:picChg>
        <pc:cxnChg chg="mod">
          <ac:chgData name="Natalia PARASKEVOPOULOU (ACER)" userId="ff0af89a-6dd4-4797-a431-66cea73ae495" providerId="ADAL" clId="{C858381A-57C7-457B-BDDA-CD186440E363}" dt="2026-01-22T15:12:15.648" v="246" actId="164"/>
          <ac:cxnSpMkLst>
            <pc:docMk/>
            <pc:sldMk cId="2150885860" sldId="2147479414"/>
            <ac:cxnSpMk id="26" creationId="{164EE350-3C59-D75D-417D-566D79465AAF}"/>
          </ac:cxnSpMkLst>
        </pc:cxnChg>
        <pc:cxnChg chg="mod">
          <ac:chgData name="Natalia PARASKEVOPOULOU (ACER)" userId="ff0af89a-6dd4-4797-a431-66cea73ae495" providerId="ADAL" clId="{C858381A-57C7-457B-BDDA-CD186440E363}" dt="2026-01-22T15:12:15.648" v="246" actId="164"/>
          <ac:cxnSpMkLst>
            <pc:docMk/>
            <pc:sldMk cId="2150885860" sldId="2147479414"/>
            <ac:cxnSpMk id="27" creationId="{9005E3BA-C292-0088-16A6-BEF671B941CC}"/>
          </ac:cxnSpMkLst>
        </pc:cxnChg>
        <pc:cxnChg chg="mod">
          <ac:chgData name="Natalia PARASKEVOPOULOU (ACER)" userId="ff0af89a-6dd4-4797-a431-66cea73ae495" providerId="ADAL" clId="{C858381A-57C7-457B-BDDA-CD186440E363}" dt="2026-01-22T15:12:15.648" v="246" actId="164"/>
          <ac:cxnSpMkLst>
            <pc:docMk/>
            <pc:sldMk cId="2150885860" sldId="2147479414"/>
            <ac:cxnSpMk id="28" creationId="{9EA517E9-261D-419E-1D2D-C5C7B29E4508}"/>
          </ac:cxnSpMkLst>
        </pc:cxnChg>
        <pc:cxnChg chg="mod">
          <ac:chgData name="Natalia PARASKEVOPOULOU (ACER)" userId="ff0af89a-6dd4-4797-a431-66cea73ae495" providerId="ADAL" clId="{C858381A-57C7-457B-BDDA-CD186440E363}" dt="2026-01-22T15:12:15.648" v="246" actId="164"/>
          <ac:cxnSpMkLst>
            <pc:docMk/>
            <pc:sldMk cId="2150885860" sldId="2147479414"/>
            <ac:cxnSpMk id="29" creationId="{C127F7C6-172C-231E-BB90-298642CA4B92}"/>
          </ac:cxnSpMkLst>
        </pc:cxnChg>
        <pc:cxnChg chg="mod">
          <ac:chgData name="Natalia PARASKEVOPOULOU (ACER)" userId="ff0af89a-6dd4-4797-a431-66cea73ae495" providerId="ADAL" clId="{C858381A-57C7-457B-BDDA-CD186440E363}" dt="2026-01-22T15:12:15.648" v="246" actId="164"/>
          <ac:cxnSpMkLst>
            <pc:docMk/>
            <pc:sldMk cId="2150885860" sldId="2147479414"/>
            <ac:cxnSpMk id="30" creationId="{078B221C-E260-3AC0-8D87-74E03EF7E0B5}"/>
          </ac:cxnSpMkLst>
        </pc:cxnChg>
        <pc:cxnChg chg="mod">
          <ac:chgData name="Natalia PARASKEVOPOULOU (ACER)" userId="ff0af89a-6dd4-4797-a431-66cea73ae495" providerId="ADAL" clId="{C858381A-57C7-457B-BDDA-CD186440E363}" dt="2026-01-22T15:11:31.480" v="241" actId="164"/>
          <ac:cxnSpMkLst>
            <pc:docMk/>
            <pc:sldMk cId="2150885860" sldId="2147479414"/>
            <ac:cxnSpMk id="31" creationId="{04E4DFBB-CCF8-C231-E706-AA24B8FB8431}"/>
          </ac:cxnSpMkLst>
        </pc:cxnChg>
        <pc:cxnChg chg="mod">
          <ac:chgData name="Natalia PARASKEVOPOULOU (ACER)" userId="ff0af89a-6dd4-4797-a431-66cea73ae495" providerId="ADAL" clId="{C858381A-57C7-457B-BDDA-CD186440E363}" dt="2026-01-22T15:11:31.480" v="241" actId="164"/>
          <ac:cxnSpMkLst>
            <pc:docMk/>
            <pc:sldMk cId="2150885860" sldId="2147479414"/>
            <ac:cxnSpMk id="32" creationId="{8129323A-5381-16BC-4179-66369F12272E}"/>
          </ac:cxnSpMkLst>
        </pc:cxnChg>
        <pc:cxnChg chg="mod">
          <ac:chgData name="Natalia PARASKEVOPOULOU (ACER)" userId="ff0af89a-6dd4-4797-a431-66cea73ae495" providerId="ADAL" clId="{C858381A-57C7-457B-BDDA-CD186440E363}" dt="2026-01-22T15:11:31.480" v="241" actId="164"/>
          <ac:cxnSpMkLst>
            <pc:docMk/>
            <pc:sldMk cId="2150885860" sldId="2147479414"/>
            <ac:cxnSpMk id="33" creationId="{B85C03B7-CE25-572A-2C4B-0607AF361D30}"/>
          </ac:cxnSpMkLst>
        </pc:cxnChg>
      </pc:sldChg>
      <pc:sldChg chg="modSp mod">
        <pc:chgData name="Natalia PARASKEVOPOULOU (ACER)" userId="ff0af89a-6dd4-4797-a431-66cea73ae495" providerId="ADAL" clId="{C858381A-57C7-457B-BDDA-CD186440E363}" dt="2026-01-13T16:12:36.823" v="35" actId="20577"/>
        <pc:sldMkLst>
          <pc:docMk/>
          <pc:sldMk cId="2472124491" sldId="2147479415"/>
        </pc:sldMkLst>
        <pc:spChg chg="mod">
          <ac:chgData name="Natalia PARASKEVOPOULOU (ACER)" userId="ff0af89a-6dd4-4797-a431-66cea73ae495" providerId="ADAL" clId="{C858381A-57C7-457B-BDDA-CD186440E363}" dt="2026-01-13T16:12:36.823" v="35" actId="20577"/>
          <ac:spMkLst>
            <pc:docMk/>
            <pc:sldMk cId="2472124491" sldId="2147479415"/>
            <ac:spMk id="5" creationId="{773A8B95-E2E9-BB42-673A-80730981429F}"/>
          </ac:spMkLst>
        </pc:spChg>
      </pc:sldChg>
    </pc:docChg>
  </pc:docChgLst>
  <pc:docChgLst>
    <pc:chgData name="Natalia PARASKEVOPOULOU (ACER)" userId="S::natalia.paraskevopoulou@acer.europa.eu::ff0af89a-6dd4-4797-a431-66cea73ae495" providerId="AD" clId="Web-{89CC6193-50B6-1BDA-CF08-DB8A3A7032BA}"/>
    <pc:docChg chg="modSld">
      <pc:chgData name="Natalia PARASKEVOPOULOU (ACER)" userId="S::natalia.paraskevopoulou@acer.europa.eu::ff0af89a-6dd4-4797-a431-66cea73ae495" providerId="AD" clId="Web-{89CC6193-50B6-1BDA-CF08-DB8A3A7032BA}" dt="2026-01-22T14:39:35.126" v="596" actId="20577"/>
      <pc:docMkLst>
        <pc:docMk/>
      </pc:docMkLst>
      <pc:sldChg chg="addSp delSp modSp">
        <pc:chgData name="Natalia PARASKEVOPOULOU (ACER)" userId="S::natalia.paraskevopoulou@acer.europa.eu::ff0af89a-6dd4-4797-a431-66cea73ae495" providerId="AD" clId="Web-{89CC6193-50B6-1BDA-CF08-DB8A3A7032BA}" dt="2026-01-22T14:39:35.126" v="596" actId="20577"/>
        <pc:sldMkLst>
          <pc:docMk/>
          <pc:sldMk cId="2150885860" sldId="2147479414"/>
        </pc:sldMkLst>
        <pc:spChg chg="mod">
          <ac:chgData name="Natalia PARASKEVOPOULOU (ACER)" userId="S::natalia.paraskevopoulou@acer.europa.eu::ff0af89a-6dd4-4797-a431-66cea73ae495" providerId="AD" clId="Web-{89CC6193-50B6-1BDA-CF08-DB8A3A7032BA}" dt="2026-01-22T14:39:35.126" v="596" actId="20577"/>
          <ac:spMkLst>
            <pc:docMk/>
            <pc:sldMk cId="2150885860" sldId="2147479414"/>
            <ac:spMk id="5" creationId="{1F6A7C4A-8AC5-2908-599D-5533B86FAFBB}"/>
          </ac:spMkLst>
        </pc:spChg>
        <pc:spChg chg="add mod">
          <ac:chgData name="Natalia PARASKEVOPOULOU (ACER)" userId="S::natalia.paraskevopoulou@acer.europa.eu::ff0af89a-6dd4-4797-a431-66cea73ae495" providerId="AD" clId="Web-{89CC6193-50B6-1BDA-CF08-DB8A3A7032BA}" dt="2026-01-22T14:39:12.141" v="587"/>
          <ac:spMkLst>
            <pc:docMk/>
            <pc:sldMk cId="2150885860" sldId="2147479414"/>
            <ac:spMk id="16" creationId="{916F87AA-FE12-4D9B-AA7A-2050AF909504}"/>
          </ac:spMkLst>
        </pc:spChg>
        <pc:spChg chg="add mod">
          <ac:chgData name="Natalia PARASKEVOPOULOU (ACER)" userId="S::natalia.paraskevopoulou@acer.europa.eu::ff0af89a-6dd4-4797-a431-66cea73ae495" providerId="AD" clId="Web-{89CC6193-50B6-1BDA-CF08-DB8A3A7032BA}" dt="2026-01-22T14:39:12.141" v="588"/>
          <ac:spMkLst>
            <pc:docMk/>
            <pc:sldMk cId="2150885860" sldId="2147479414"/>
            <ac:spMk id="18" creationId="{DA1FD894-14BD-21D8-3124-B68CDEBAF3F4}"/>
          </ac:spMkLst>
        </pc:spChg>
        <pc:spChg chg="add mod">
          <ac:chgData name="Natalia PARASKEVOPOULOU (ACER)" userId="S::natalia.paraskevopoulou@acer.europa.eu::ff0af89a-6dd4-4797-a431-66cea73ae495" providerId="AD" clId="Web-{89CC6193-50B6-1BDA-CF08-DB8A3A7032BA}" dt="2026-01-22T14:39:12.141" v="589"/>
          <ac:spMkLst>
            <pc:docMk/>
            <pc:sldMk cId="2150885860" sldId="2147479414"/>
            <ac:spMk id="19" creationId="{4519F68F-B3DE-BF87-2422-138F95CFAAE2}"/>
          </ac:spMkLst>
        </pc:spChg>
        <pc:spChg chg="add mod">
          <ac:chgData name="Natalia PARASKEVOPOULOU (ACER)" userId="S::natalia.paraskevopoulou@acer.europa.eu::ff0af89a-6dd4-4797-a431-66cea73ae495" providerId="AD" clId="Web-{89CC6193-50B6-1BDA-CF08-DB8A3A7032BA}" dt="2026-01-22T14:39:12.141" v="590"/>
          <ac:spMkLst>
            <pc:docMk/>
            <pc:sldMk cId="2150885860" sldId="2147479414"/>
            <ac:spMk id="20" creationId="{FDB03BF3-3D95-CB3A-9A97-592FB51659D6}"/>
          </ac:spMkLst>
        </pc:spChg>
        <pc:spChg chg="add mod">
          <ac:chgData name="Natalia PARASKEVOPOULOU (ACER)" userId="S::natalia.paraskevopoulou@acer.europa.eu::ff0af89a-6dd4-4797-a431-66cea73ae495" providerId="AD" clId="Web-{89CC6193-50B6-1BDA-CF08-DB8A3A7032BA}" dt="2026-01-22T14:39:12.141" v="591"/>
          <ac:spMkLst>
            <pc:docMk/>
            <pc:sldMk cId="2150885860" sldId="2147479414"/>
            <ac:spMk id="21" creationId="{9516975D-DE26-7E24-C1D0-D7791F951F77}"/>
          </ac:spMkLst>
        </pc:spChg>
        <pc:spChg chg="add mod">
          <ac:chgData name="Natalia PARASKEVOPOULOU (ACER)" userId="S::natalia.paraskevopoulou@acer.europa.eu::ff0af89a-6dd4-4797-a431-66cea73ae495" providerId="AD" clId="Web-{89CC6193-50B6-1BDA-CF08-DB8A3A7032BA}" dt="2026-01-22T14:39:12.141" v="592"/>
          <ac:spMkLst>
            <pc:docMk/>
            <pc:sldMk cId="2150885860" sldId="2147479414"/>
            <ac:spMk id="22" creationId="{16757E2A-8A4D-35DD-D2D7-69CE784846E5}"/>
          </ac:spMkLst>
        </pc:spChg>
        <pc:spChg chg="add mod">
          <ac:chgData name="Natalia PARASKEVOPOULOU (ACER)" userId="S::natalia.paraskevopoulou@acer.europa.eu::ff0af89a-6dd4-4797-a431-66cea73ae495" providerId="AD" clId="Web-{89CC6193-50B6-1BDA-CF08-DB8A3A7032BA}" dt="2026-01-22T14:39:12.141" v="593"/>
          <ac:spMkLst>
            <pc:docMk/>
            <pc:sldMk cId="2150885860" sldId="2147479414"/>
            <ac:spMk id="23" creationId="{8103D64B-4613-086C-F1E9-F0D143975E07}"/>
          </ac:spMkLst>
        </pc:spChg>
        <pc:spChg chg="add mod">
          <ac:chgData name="Natalia PARASKEVOPOULOU (ACER)" userId="S::natalia.paraskevopoulou@acer.europa.eu::ff0af89a-6dd4-4797-a431-66cea73ae495" providerId="AD" clId="Web-{89CC6193-50B6-1BDA-CF08-DB8A3A7032BA}" dt="2026-01-22T14:39:12.266" v="594"/>
          <ac:spMkLst>
            <pc:docMk/>
            <pc:sldMk cId="2150885860" sldId="2147479414"/>
            <ac:spMk id="25" creationId="{88D1EBB5-6AEC-40F3-F481-7D97884F96B3}"/>
          </ac:spMkLst>
        </pc:spChg>
        <pc:picChg chg="add mod">
          <ac:chgData name="Natalia PARASKEVOPOULOU (ACER)" userId="S::natalia.paraskevopoulou@acer.europa.eu::ff0af89a-6dd4-4797-a431-66cea73ae495" providerId="AD" clId="Web-{89CC6193-50B6-1BDA-CF08-DB8A3A7032BA}" dt="2026-01-22T14:28:07.207" v="376" actId="1076"/>
          <ac:picMkLst>
            <pc:docMk/>
            <pc:sldMk cId="2150885860" sldId="2147479414"/>
            <ac:picMk id="12" creationId="{C16282D5-1A58-D644-BC8C-8D2C7B64104E}"/>
          </ac:picMkLst>
        </pc:picChg>
        <pc:picChg chg="add mod ord">
          <ac:chgData name="Natalia PARASKEVOPOULOU (ACER)" userId="S::natalia.paraskevopoulou@acer.europa.eu::ff0af89a-6dd4-4797-a431-66cea73ae495" providerId="AD" clId="Web-{89CC6193-50B6-1BDA-CF08-DB8A3A7032BA}" dt="2026-01-22T14:28:37.584" v="396"/>
          <ac:picMkLst>
            <pc:docMk/>
            <pc:sldMk cId="2150885860" sldId="2147479414"/>
            <ac:picMk id="13" creationId="{472EAE36-E2D6-032E-A904-A4A578128D4F}"/>
          </ac:picMkLst>
        </pc:picChg>
        <pc:cxnChg chg="add mod">
          <ac:chgData name="Natalia PARASKEVOPOULOU (ACER)" userId="S::natalia.paraskevopoulou@acer.europa.eu::ff0af89a-6dd4-4797-a431-66cea73ae495" providerId="AD" clId="Web-{89CC6193-50B6-1BDA-CF08-DB8A3A7032BA}" dt="2026-01-22T14:28:07.410" v="386" actId="1076"/>
          <ac:cxnSpMkLst>
            <pc:docMk/>
            <pc:sldMk cId="2150885860" sldId="2147479414"/>
            <ac:cxnSpMk id="26" creationId="{164EE350-3C59-D75D-417D-566D79465AAF}"/>
          </ac:cxnSpMkLst>
        </pc:cxnChg>
        <pc:cxnChg chg="add mod">
          <ac:chgData name="Natalia PARASKEVOPOULOU (ACER)" userId="S::natalia.paraskevopoulou@acer.europa.eu::ff0af89a-6dd4-4797-a431-66cea73ae495" providerId="AD" clId="Web-{89CC6193-50B6-1BDA-CF08-DB8A3A7032BA}" dt="2026-01-22T14:28:07.425" v="387" actId="1076"/>
          <ac:cxnSpMkLst>
            <pc:docMk/>
            <pc:sldMk cId="2150885860" sldId="2147479414"/>
            <ac:cxnSpMk id="27" creationId="{9005E3BA-C292-0088-16A6-BEF671B941CC}"/>
          </ac:cxnSpMkLst>
        </pc:cxnChg>
        <pc:cxnChg chg="add mod">
          <ac:chgData name="Natalia PARASKEVOPOULOU (ACER)" userId="S::natalia.paraskevopoulou@acer.europa.eu::ff0af89a-6dd4-4797-a431-66cea73ae495" providerId="AD" clId="Web-{89CC6193-50B6-1BDA-CF08-DB8A3A7032BA}" dt="2026-01-22T14:28:07.441" v="388" actId="1076"/>
          <ac:cxnSpMkLst>
            <pc:docMk/>
            <pc:sldMk cId="2150885860" sldId="2147479414"/>
            <ac:cxnSpMk id="28" creationId="{9EA517E9-261D-419E-1D2D-C5C7B29E4508}"/>
          </ac:cxnSpMkLst>
        </pc:cxnChg>
        <pc:cxnChg chg="add mod">
          <ac:chgData name="Natalia PARASKEVOPOULOU (ACER)" userId="S::natalia.paraskevopoulou@acer.europa.eu::ff0af89a-6dd4-4797-a431-66cea73ae495" providerId="AD" clId="Web-{89CC6193-50B6-1BDA-CF08-DB8A3A7032BA}" dt="2026-01-22T14:28:07.472" v="389" actId="1076"/>
          <ac:cxnSpMkLst>
            <pc:docMk/>
            <pc:sldMk cId="2150885860" sldId="2147479414"/>
            <ac:cxnSpMk id="29" creationId="{C127F7C6-172C-231E-BB90-298642CA4B92}"/>
          </ac:cxnSpMkLst>
        </pc:cxnChg>
        <pc:cxnChg chg="add mod">
          <ac:chgData name="Natalia PARASKEVOPOULOU (ACER)" userId="S::natalia.paraskevopoulou@acer.europa.eu::ff0af89a-6dd4-4797-a431-66cea73ae495" providerId="AD" clId="Web-{89CC6193-50B6-1BDA-CF08-DB8A3A7032BA}" dt="2026-01-22T14:28:07.488" v="390" actId="1076"/>
          <ac:cxnSpMkLst>
            <pc:docMk/>
            <pc:sldMk cId="2150885860" sldId="2147479414"/>
            <ac:cxnSpMk id="30" creationId="{078B221C-E260-3AC0-8D87-74E03EF7E0B5}"/>
          </ac:cxnSpMkLst>
        </pc:cxnChg>
        <pc:cxnChg chg="add mod">
          <ac:chgData name="Natalia PARASKEVOPOULOU (ACER)" userId="S::natalia.paraskevopoulou@acer.europa.eu::ff0af89a-6dd4-4797-a431-66cea73ae495" providerId="AD" clId="Web-{89CC6193-50B6-1BDA-CF08-DB8A3A7032BA}" dt="2026-01-22T14:28:07.504" v="391" actId="1076"/>
          <ac:cxnSpMkLst>
            <pc:docMk/>
            <pc:sldMk cId="2150885860" sldId="2147479414"/>
            <ac:cxnSpMk id="31" creationId="{04E4DFBB-CCF8-C231-E706-AA24B8FB8431}"/>
          </ac:cxnSpMkLst>
        </pc:cxnChg>
        <pc:cxnChg chg="add mod">
          <ac:chgData name="Natalia PARASKEVOPOULOU (ACER)" userId="S::natalia.paraskevopoulou@acer.europa.eu::ff0af89a-6dd4-4797-a431-66cea73ae495" providerId="AD" clId="Web-{89CC6193-50B6-1BDA-CF08-DB8A3A7032BA}" dt="2026-01-22T14:28:07.519" v="392" actId="1076"/>
          <ac:cxnSpMkLst>
            <pc:docMk/>
            <pc:sldMk cId="2150885860" sldId="2147479414"/>
            <ac:cxnSpMk id="32" creationId="{8129323A-5381-16BC-4179-66369F12272E}"/>
          </ac:cxnSpMkLst>
        </pc:cxnChg>
        <pc:cxnChg chg="add mod">
          <ac:chgData name="Natalia PARASKEVOPOULOU (ACER)" userId="S::natalia.paraskevopoulou@acer.europa.eu::ff0af89a-6dd4-4797-a431-66cea73ae495" providerId="AD" clId="Web-{89CC6193-50B6-1BDA-CF08-DB8A3A7032BA}" dt="2026-01-22T14:28:07.535" v="393" actId="1076"/>
          <ac:cxnSpMkLst>
            <pc:docMk/>
            <pc:sldMk cId="2150885860" sldId="2147479414"/>
            <ac:cxnSpMk id="33" creationId="{B85C03B7-CE25-572A-2C4B-0607AF361D30}"/>
          </ac:cxnSpMkLst>
        </pc:cxnChg>
      </pc:sldChg>
    </pc:docChg>
  </pc:docChgLst>
  <pc:docChgLst>
    <pc:chgData name="Ignacio MUNIOZGUREN GARCIA (ACER)" userId="b4b68ca2-c786-40d7-af41-7249f9a11048" providerId="ADAL" clId="{CDC096FD-8EAC-4BDE-B14E-9756A891EA09}"/>
    <pc:docChg chg="undo custSel addSld delSld modSld sldOrd modMainMaster">
      <pc:chgData name="Ignacio MUNIOZGUREN GARCIA (ACER)" userId="b4b68ca2-c786-40d7-af41-7249f9a11048" providerId="ADAL" clId="{CDC096FD-8EAC-4BDE-B14E-9756A891EA09}" dt="2026-02-05T14:18:50.699" v="36755" actId="14100"/>
      <pc:docMkLst>
        <pc:docMk/>
      </pc:docMkLst>
      <pc:sldChg chg="addSp delSp modSp mod">
        <pc:chgData name="Ignacio MUNIOZGUREN GARCIA (ACER)" userId="b4b68ca2-c786-40d7-af41-7249f9a11048" providerId="ADAL" clId="{CDC096FD-8EAC-4BDE-B14E-9756A891EA09}" dt="2026-02-03T13:05:32.865" v="36246" actId="207"/>
        <pc:sldMkLst>
          <pc:docMk/>
          <pc:sldMk cId="20202796" sldId="280"/>
        </pc:sldMkLst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20202796" sldId="280"/>
            <ac:spMk id="4" creationId="{525A5D3D-DA87-000D-D64D-EC7F4D4A950B}"/>
          </ac:spMkLst>
        </pc:spChg>
        <pc:spChg chg="mod">
          <ac:chgData name="Ignacio MUNIOZGUREN GARCIA (ACER)" userId="b4b68ca2-c786-40d7-af41-7249f9a11048" providerId="ADAL" clId="{CDC096FD-8EAC-4BDE-B14E-9756A891EA09}" dt="2026-02-03T13:05:32.865" v="36246" actId="207"/>
          <ac:spMkLst>
            <pc:docMk/>
            <pc:sldMk cId="20202796" sldId="280"/>
            <ac:spMk id="13" creationId="{AEDF76A3-C2F2-0544-7809-7B78441EF777}"/>
          </ac:spMkLst>
        </pc:spChg>
        <pc:picChg chg="mod modCrop">
          <ac:chgData name="Ignacio MUNIOZGUREN GARCIA (ACER)" userId="b4b68ca2-c786-40d7-af41-7249f9a11048" providerId="ADAL" clId="{CDC096FD-8EAC-4BDE-B14E-9756A891EA09}" dt="2026-02-02T16:51:22.874" v="35543" actId="732"/>
          <ac:picMkLst>
            <pc:docMk/>
            <pc:sldMk cId="20202796" sldId="280"/>
            <ac:picMk id="6" creationId="{79DC21C1-DE31-EC20-75D9-0DD342D5184F}"/>
          </ac:picMkLst>
        </pc:picChg>
      </pc:sldChg>
      <pc:sldChg chg="addSp delSp modSp mod">
        <pc:chgData name="Ignacio MUNIOZGUREN GARCIA (ACER)" userId="b4b68ca2-c786-40d7-af41-7249f9a11048" providerId="ADAL" clId="{CDC096FD-8EAC-4BDE-B14E-9756A891EA09}" dt="2026-02-02T16:48:33.399" v="35496" actId="478"/>
        <pc:sldMkLst>
          <pc:docMk/>
          <pc:sldMk cId="1865443466" sldId="293"/>
        </pc:sldMkLst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1865443466" sldId="293"/>
            <ac:spMk id="3" creationId="{2BBF03B2-43BF-F7BE-9557-940123C801F5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1865443466" sldId="293"/>
            <ac:spMk id="8" creationId="{21B31077-857B-53F2-0C25-76F8AECF20FD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1865443466" sldId="293"/>
            <ac:spMk id="10" creationId="{75DAFE6E-28E9-30DE-3A60-1760F7E6134A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1865443466" sldId="293"/>
            <ac:spMk id="20" creationId="{14CDCE89-EFBF-821A-AC8F-30DB4CA8AA08}"/>
          </ac:spMkLst>
        </pc:spChg>
      </pc:sldChg>
      <pc:sldChg chg="addSp delSp modSp mod ord">
        <pc:chgData name="Ignacio MUNIOZGUREN GARCIA (ACER)" userId="b4b68ca2-c786-40d7-af41-7249f9a11048" providerId="ADAL" clId="{CDC096FD-8EAC-4BDE-B14E-9756A891EA09}" dt="2026-02-03T13:06:03.541" v="36254" actId="207"/>
        <pc:sldMkLst>
          <pc:docMk/>
          <pc:sldMk cId="1060430040" sldId="2147479327"/>
        </pc:sldMkLst>
        <pc:spChg chg="add mod">
          <ac:chgData name="Ignacio MUNIOZGUREN GARCIA (ACER)" userId="b4b68ca2-c786-40d7-af41-7249f9a11048" providerId="ADAL" clId="{CDC096FD-8EAC-4BDE-B14E-9756A891EA09}" dt="2026-02-02T12:22:37.020" v="29913" actId="1076"/>
          <ac:spMkLst>
            <pc:docMk/>
            <pc:sldMk cId="1060430040" sldId="2147479327"/>
            <ac:spMk id="3" creationId="{9F79FC3D-2B4D-6CF3-018C-A52502A27174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1060430040" sldId="2147479327"/>
            <ac:spMk id="4" creationId="{68DACFED-373D-4168-57F4-CCC221D56349}"/>
          </ac:spMkLst>
        </pc:spChg>
        <pc:spChg chg="mod">
          <ac:chgData name="Ignacio MUNIOZGUREN GARCIA (ACER)" userId="b4b68ca2-c786-40d7-af41-7249f9a11048" providerId="ADAL" clId="{CDC096FD-8EAC-4BDE-B14E-9756A891EA09}" dt="2026-02-02T13:29:17.955" v="31037" actId="403"/>
          <ac:spMkLst>
            <pc:docMk/>
            <pc:sldMk cId="1060430040" sldId="2147479327"/>
            <ac:spMk id="5" creationId="{3D48CA39-3AF1-0FD7-3DCF-1777F4BB169F}"/>
          </ac:spMkLst>
        </pc:spChg>
        <pc:spChg chg="mod">
          <ac:chgData name="Ignacio MUNIOZGUREN GARCIA (ACER)" userId="b4b68ca2-c786-40d7-af41-7249f9a11048" providerId="ADAL" clId="{CDC096FD-8EAC-4BDE-B14E-9756A891EA09}" dt="2026-02-03T13:06:03.541" v="36254" actId="207"/>
          <ac:spMkLst>
            <pc:docMk/>
            <pc:sldMk cId="1060430040" sldId="2147479327"/>
            <ac:spMk id="9" creationId="{7F303290-0908-AD39-5CB2-EDBF4F829C52}"/>
          </ac:spMkLst>
        </pc:spChg>
        <pc:picChg chg="add mod">
          <ac:chgData name="Ignacio MUNIOZGUREN GARCIA (ACER)" userId="b4b68ca2-c786-40d7-af41-7249f9a11048" providerId="ADAL" clId="{CDC096FD-8EAC-4BDE-B14E-9756A891EA09}" dt="2026-02-02T12:22:33.342" v="29912" actId="1076"/>
          <ac:picMkLst>
            <pc:docMk/>
            <pc:sldMk cId="1060430040" sldId="2147479327"/>
            <ac:picMk id="1026" creationId="{8DF8770D-4613-A1BB-3726-72CC9EFE2ACE}"/>
          </ac:picMkLst>
        </pc:picChg>
      </pc:sldChg>
      <pc:sldChg chg="modSp mod">
        <pc:chgData name="Ignacio MUNIOZGUREN GARCIA (ACER)" userId="b4b68ca2-c786-40d7-af41-7249f9a11048" providerId="ADAL" clId="{CDC096FD-8EAC-4BDE-B14E-9756A891EA09}" dt="2026-02-03T13:13:48.820" v="36320" actId="20577"/>
        <pc:sldMkLst>
          <pc:docMk/>
          <pc:sldMk cId="1579791411" sldId="2147479328"/>
        </pc:sldMkLst>
        <pc:spChg chg="mod">
          <ac:chgData name="Ignacio MUNIOZGUREN GARCIA (ACER)" userId="b4b68ca2-c786-40d7-af41-7249f9a11048" providerId="ADAL" clId="{CDC096FD-8EAC-4BDE-B14E-9756A891EA09}" dt="2026-02-03T13:13:48.820" v="36320" actId="20577"/>
          <ac:spMkLst>
            <pc:docMk/>
            <pc:sldMk cId="1579791411" sldId="2147479328"/>
            <ac:spMk id="5" creationId="{70D9F418-AC80-FF87-B7F4-65C55C2F1B9A}"/>
          </ac:spMkLst>
        </pc:spChg>
        <pc:spChg chg="mod">
          <ac:chgData name="Ignacio MUNIOZGUREN GARCIA (ACER)" userId="b4b68ca2-c786-40d7-af41-7249f9a11048" providerId="ADAL" clId="{CDC096FD-8EAC-4BDE-B14E-9756A891EA09}" dt="2026-02-03T13:05:49.873" v="36250" actId="207"/>
          <ac:spMkLst>
            <pc:docMk/>
            <pc:sldMk cId="1579791411" sldId="2147479328"/>
            <ac:spMk id="7" creationId="{A0DCAAD7-4C7A-ECF8-3F70-4843B9390CA7}"/>
          </ac:spMkLst>
        </pc:spChg>
      </pc:sldChg>
      <pc:sldChg chg="modSp mod">
        <pc:chgData name="Ignacio MUNIOZGUREN GARCIA (ACER)" userId="b4b68ca2-c786-40d7-af41-7249f9a11048" providerId="ADAL" clId="{CDC096FD-8EAC-4BDE-B14E-9756A891EA09}" dt="2026-02-03T13:10:36.637" v="36293" actId="115"/>
        <pc:sldMkLst>
          <pc:docMk/>
          <pc:sldMk cId="1377867079" sldId="2147479347"/>
        </pc:sldMkLst>
        <pc:spChg chg="mod">
          <ac:chgData name="Ignacio MUNIOZGUREN GARCIA (ACER)" userId="b4b68ca2-c786-40d7-af41-7249f9a11048" providerId="ADAL" clId="{CDC096FD-8EAC-4BDE-B14E-9756A891EA09}" dt="2026-02-03T13:05:46.578" v="36249" actId="207"/>
          <ac:spMkLst>
            <pc:docMk/>
            <pc:sldMk cId="1377867079" sldId="2147479347"/>
            <ac:spMk id="2" creationId="{008D0A98-E8FF-6470-7DF3-302DEB1A0828}"/>
          </ac:spMkLst>
        </pc:spChg>
        <pc:spChg chg="mod">
          <ac:chgData name="Ignacio MUNIOZGUREN GARCIA (ACER)" userId="b4b68ca2-c786-40d7-af41-7249f9a11048" providerId="ADAL" clId="{CDC096FD-8EAC-4BDE-B14E-9756A891EA09}" dt="2026-02-03T13:10:36.637" v="36293" actId="115"/>
          <ac:spMkLst>
            <pc:docMk/>
            <pc:sldMk cId="1377867079" sldId="2147479347"/>
            <ac:spMk id="5" creationId="{34DE2013-B0FD-8319-92B0-AFB2D770CB55}"/>
          </ac:spMkLst>
        </pc:spChg>
      </pc:sldChg>
      <pc:sldChg chg="modSp mod">
        <pc:chgData name="Ignacio MUNIOZGUREN GARCIA (ACER)" userId="b4b68ca2-c786-40d7-af41-7249f9a11048" providerId="ADAL" clId="{CDC096FD-8EAC-4BDE-B14E-9756A891EA09}" dt="2026-02-03T13:14:28.286" v="36327" actId="1076"/>
        <pc:sldMkLst>
          <pc:docMk/>
          <pc:sldMk cId="2414518066" sldId="2147479382"/>
        </pc:sldMkLst>
        <pc:spChg chg="mod">
          <ac:chgData name="Ignacio MUNIOZGUREN GARCIA (ACER)" userId="b4b68ca2-c786-40d7-af41-7249f9a11048" providerId="ADAL" clId="{CDC096FD-8EAC-4BDE-B14E-9756A891EA09}" dt="2026-02-03T13:05:53.882" v="36251" actId="207"/>
          <ac:spMkLst>
            <pc:docMk/>
            <pc:sldMk cId="2414518066" sldId="2147479382"/>
            <ac:spMk id="7" creationId="{265E3AE7-11B4-7AAF-6E4C-949F9760198E}"/>
          </ac:spMkLst>
        </pc:spChg>
        <pc:spChg chg="mod">
          <ac:chgData name="Ignacio MUNIOZGUREN GARCIA (ACER)" userId="b4b68ca2-c786-40d7-af41-7249f9a11048" providerId="ADAL" clId="{CDC096FD-8EAC-4BDE-B14E-9756A891EA09}" dt="2026-02-03T13:14:28.286" v="36327" actId="1076"/>
          <ac:spMkLst>
            <pc:docMk/>
            <pc:sldMk cId="2414518066" sldId="2147479382"/>
            <ac:spMk id="8" creationId="{F7F3A9D8-AF6C-CADE-EC72-E7B754C1CCE1}"/>
          </ac:spMkLst>
        </pc:spChg>
      </pc:sldChg>
      <pc:sldChg chg="addSp delSp modSp del mod">
        <pc:chgData name="Ignacio MUNIOZGUREN GARCIA (ACER)" userId="b4b68ca2-c786-40d7-af41-7249f9a11048" providerId="ADAL" clId="{CDC096FD-8EAC-4BDE-B14E-9756A891EA09}" dt="2026-02-05T13:58:56.746" v="36661" actId="47"/>
        <pc:sldMkLst>
          <pc:docMk/>
          <pc:sldMk cId="3371902250" sldId="2147479397"/>
        </pc:sldMkLst>
      </pc:sldChg>
      <pc:sldChg chg="addSp delSp modSp mod">
        <pc:chgData name="Ignacio MUNIOZGUREN GARCIA (ACER)" userId="b4b68ca2-c786-40d7-af41-7249f9a11048" providerId="ADAL" clId="{CDC096FD-8EAC-4BDE-B14E-9756A891EA09}" dt="2026-02-05T14:18:50.699" v="36755" actId="14100"/>
        <pc:sldMkLst>
          <pc:docMk/>
          <pc:sldMk cId="1871692232" sldId="2147479398"/>
        </pc:sldMkLst>
        <pc:spChg chg="mod">
          <ac:chgData name="Ignacio MUNIOZGUREN GARCIA (ACER)" userId="b4b68ca2-c786-40d7-af41-7249f9a11048" providerId="ADAL" clId="{CDC096FD-8EAC-4BDE-B14E-9756A891EA09}" dt="2026-02-05T14:14:58.931" v="36724" actId="20577"/>
          <ac:spMkLst>
            <pc:docMk/>
            <pc:sldMk cId="1871692232" sldId="2147479398"/>
            <ac:spMk id="2" creationId="{4E039917-E743-CD37-4C38-AFCBCB941953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1871692232" sldId="2147479398"/>
            <ac:spMk id="3" creationId="{EE13D022-811C-49EC-99AA-52D06DC64D2E}"/>
          </ac:spMkLst>
        </pc:spChg>
        <pc:spChg chg="mod">
          <ac:chgData name="Ignacio MUNIOZGUREN GARCIA (ACER)" userId="b4b68ca2-c786-40d7-af41-7249f9a11048" providerId="ADAL" clId="{CDC096FD-8EAC-4BDE-B14E-9756A891EA09}" dt="2026-02-05T14:18:50.699" v="36755" actId="14100"/>
          <ac:spMkLst>
            <pc:docMk/>
            <pc:sldMk cId="1871692232" sldId="2147479398"/>
            <ac:spMk id="4" creationId="{80B0C4F2-BA79-B362-4A14-DA9045A155BB}"/>
          </ac:spMkLst>
        </pc:spChg>
        <pc:spChg chg="mod">
          <ac:chgData name="Ignacio MUNIOZGUREN GARCIA (ACER)" userId="b4b68ca2-c786-40d7-af41-7249f9a11048" providerId="ADAL" clId="{CDC096FD-8EAC-4BDE-B14E-9756A891EA09}" dt="2026-02-05T14:18:44.638" v="36754" actId="6549"/>
          <ac:spMkLst>
            <pc:docMk/>
            <pc:sldMk cId="1871692232" sldId="2147479398"/>
            <ac:spMk id="5" creationId="{9C0A60CE-6AA0-26F8-222D-6AAB446D70B5}"/>
          </ac:spMkLst>
        </pc:spChg>
        <pc:spChg chg="add mod">
          <ac:chgData name="Ignacio MUNIOZGUREN GARCIA (ACER)" userId="b4b68ca2-c786-40d7-af41-7249f9a11048" providerId="ADAL" clId="{CDC096FD-8EAC-4BDE-B14E-9756A891EA09}" dt="2026-02-05T13:56:04.502" v="36527"/>
          <ac:spMkLst>
            <pc:docMk/>
            <pc:sldMk cId="1871692232" sldId="2147479398"/>
            <ac:spMk id="6" creationId="{F37B709D-CB1D-BA55-E808-A09ADCF35012}"/>
          </ac:spMkLst>
        </pc:spChg>
        <pc:spChg chg="mod">
          <ac:chgData name="Ignacio MUNIOZGUREN GARCIA (ACER)" userId="b4b68ca2-c786-40d7-af41-7249f9a11048" providerId="ADAL" clId="{CDC096FD-8EAC-4BDE-B14E-9756A891EA09}" dt="2026-01-28T12:46:19.467" v="24951" actId="1076"/>
          <ac:spMkLst>
            <pc:docMk/>
            <pc:sldMk cId="1871692232" sldId="2147479398"/>
            <ac:spMk id="7" creationId="{FB58CA04-72E4-FFE4-4924-7487CAB4574E}"/>
          </ac:spMkLst>
        </pc:spChg>
        <pc:graphicFrameChg chg="mod modGraphic">
          <ac:chgData name="Ignacio MUNIOZGUREN GARCIA (ACER)" userId="b4b68ca2-c786-40d7-af41-7249f9a11048" providerId="ADAL" clId="{CDC096FD-8EAC-4BDE-B14E-9756A891EA09}" dt="2026-02-03T10:22:44.892" v="36232" actId="14100"/>
          <ac:graphicFrameMkLst>
            <pc:docMk/>
            <pc:sldMk cId="1871692232" sldId="2147479398"/>
            <ac:graphicFrameMk id="8" creationId="{23800E05-AA96-3FC5-E585-020D1F55AA43}"/>
          </ac:graphicFrameMkLst>
        </pc:graphicFrameChg>
      </pc:sldChg>
      <pc:sldChg chg="addSp delSp modSp add mod">
        <pc:chgData name="Ignacio MUNIOZGUREN GARCIA (ACER)" userId="b4b68ca2-c786-40d7-af41-7249f9a11048" providerId="ADAL" clId="{CDC096FD-8EAC-4BDE-B14E-9756A891EA09}" dt="2026-02-04T16:29:29.404" v="36419" actId="207"/>
        <pc:sldMkLst>
          <pc:docMk/>
          <pc:sldMk cId="1716519512" sldId="2147479409"/>
        </pc:sldMkLst>
        <pc:spChg chg="mod">
          <ac:chgData name="Ignacio MUNIOZGUREN GARCIA (ACER)" userId="b4b68ca2-c786-40d7-af41-7249f9a11048" providerId="ADAL" clId="{CDC096FD-8EAC-4BDE-B14E-9756A891EA09}" dt="2026-02-02T16:51:06.999" v="35542" actId="20577"/>
          <ac:spMkLst>
            <pc:docMk/>
            <pc:sldMk cId="1716519512" sldId="2147479409"/>
            <ac:spMk id="2" creationId="{1B3E1F03-EA95-FEDE-0674-0EC045BBDE40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1716519512" sldId="2147479409"/>
            <ac:spMk id="3" creationId="{0A818252-E248-F06B-45F5-C26B0707988C}"/>
          </ac:spMkLst>
        </pc:spChg>
        <pc:spChg chg="add mod">
          <ac:chgData name="Ignacio MUNIOZGUREN GARCIA (ACER)" userId="b4b68ca2-c786-40d7-af41-7249f9a11048" providerId="ADAL" clId="{CDC096FD-8EAC-4BDE-B14E-9756A891EA09}" dt="2026-02-02T16:57:44.262" v="35620" actId="6549"/>
          <ac:spMkLst>
            <pc:docMk/>
            <pc:sldMk cId="1716519512" sldId="2147479409"/>
            <ac:spMk id="6" creationId="{826E3C0D-E46A-7CA7-542B-F7307B1D0782}"/>
          </ac:spMkLst>
        </pc:spChg>
        <pc:graphicFrameChg chg="mod modGraphic">
          <ac:chgData name="Ignacio MUNIOZGUREN GARCIA (ACER)" userId="b4b68ca2-c786-40d7-af41-7249f9a11048" providerId="ADAL" clId="{CDC096FD-8EAC-4BDE-B14E-9756A891EA09}" dt="2026-02-04T16:29:29.404" v="36419" actId="207"/>
          <ac:graphicFrameMkLst>
            <pc:docMk/>
            <pc:sldMk cId="1716519512" sldId="2147479409"/>
            <ac:graphicFrameMk id="5" creationId="{EAE59B40-D30E-4D05-BD20-47FFD31D38D1}"/>
          </ac:graphicFrameMkLst>
        </pc:graphicFrameChg>
      </pc:sldChg>
      <pc:sldChg chg="addSp delSp modSp mod ord">
        <pc:chgData name="Ignacio MUNIOZGUREN GARCIA (ACER)" userId="b4b68ca2-c786-40d7-af41-7249f9a11048" providerId="ADAL" clId="{CDC096FD-8EAC-4BDE-B14E-9756A891EA09}" dt="2026-02-03T13:06:06.417" v="36255" actId="207"/>
        <pc:sldMkLst>
          <pc:docMk/>
          <pc:sldMk cId="2150885860" sldId="2147479414"/>
        </pc:sldMkLst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2150885860" sldId="2147479414"/>
            <ac:spMk id="4" creationId="{5496E021-2BA8-7E30-F82B-4DF8F94C5EC6}"/>
          </ac:spMkLst>
        </pc:spChg>
        <pc:spChg chg="mod">
          <ac:chgData name="Ignacio MUNIOZGUREN GARCIA (ACER)" userId="b4b68ca2-c786-40d7-af41-7249f9a11048" providerId="ADAL" clId="{CDC096FD-8EAC-4BDE-B14E-9756A891EA09}" dt="2026-02-03T10:33:40.081" v="36236" actId="1076"/>
          <ac:spMkLst>
            <pc:docMk/>
            <pc:sldMk cId="2150885860" sldId="2147479414"/>
            <ac:spMk id="5" creationId="{1F6A7C4A-8AC5-2908-599D-5533B86FAFBB}"/>
          </ac:spMkLst>
        </pc:spChg>
        <pc:spChg chg="mod">
          <ac:chgData name="Ignacio MUNIOZGUREN GARCIA (ACER)" userId="b4b68ca2-c786-40d7-af41-7249f9a11048" providerId="ADAL" clId="{CDC096FD-8EAC-4BDE-B14E-9756A891EA09}" dt="2026-01-22T16:05:05.091" v="24742" actId="1076"/>
          <ac:spMkLst>
            <pc:docMk/>
            <pc:sldMk cId="2150885860" sldId="2147479414"/>
            <ac:spMk id="7" creationId="{CF0A9FB4-83CF-B5BB-62A5-0BC0F96E4F8F}"/>
          </ac:spMkLst>
        </pc:spChg>
        <pc:spChg chg="mod">
          <ac:chgData name="Ignacio MUNIOZGUREN GARCIA (ACER)" userId="b4b68ca2-c786-40d7-af41-7249f9a11048" providerId="ADAL" clId="{CDC096FD-8EAC-4BDE-B14E-9756A891EA09}" dt="2026-02-03T13:06:06.417" v="36255" actId="207"/>
          <ac:spMkLst>
            <pc:docMk/>
            <pc:sldMk cId="2150885860" sldId="2147479414"/>
            <ac:spMk id="9" creationId="{6E5C0515-E28F-48B0-48F2-6A36A90FA63E}"/>
          </ac:spMkLst>
        </pc:spChg>
        <pc:spChg chg="add mod">
          <ac:chgData name="Ignacio MUNIOZGUREN GARCIA (ACER)" userId="b4b68ca2-c786-40d7-af41-7249f9a11048" providerId="ADAL" clId="{CDC096FD-8EAC-4BDE-B14E-9756A891EA09}" dt="2026-01-22T15:45:34.685" v="23961" actId="14100"/>
          <ac:spMkLst>
            <pc:docMk/>
            <pc:sldMk cId="2150885860" sldId="2147479414"/>
            <ac:spMk id="11" creationId="{544D619F-9739-EB9B-0D4E-917E026FBE73}"/>
          </ac:spMkLst>
        </pc:spChg>
        <pc:spChg chg="add mod">
          <ac:chgData name="Ignacio MUNIOZGUREN GARCIA (ACER)" userId="b4b68ca2-c786-40d7-af41-7249f9a11048" providerId="ADAL" clId="{CDC096FD-8EAC-4BDE-B14E-9756A891EA09}" dt="2026-01-22T15:45:39.327" v="23970" actId="14100"/>
          <ac:spMkLst>
            <pc:docMk/>
            <pc:sldMk cId="2150885860" sldId="2147479414"/>
            <ac:spMk id="14" creationId="{7867120D-8CAD-8B07-4E75-D85568000800}"/>
          </ac:spMkLst>
        </pc:spChg>
        <pc:spChg chg="mod">
          <ac:chgData name="Ignacio MUNIOZGUREN GARCIA (ACER)" userId="b4b68ca2-c786-40d7-af41-7249f9a11048" providerId="ADAL" clId="{CDC096FD-8EAC-4BDE-B14E-9756A891EA09}" dt="2026-01-22T15:44:57.740" v="23942" actId="1076"/>
          <ac:spMkLst>
            <pc:docMk/>
            <pc:sldMk cId="2150885860" sldId="2147479414"/>
            <ac:spMk id="16" creationId="{916F87AA-FE12-4D9B-AA7A-2050AF909504}"/>
          </ac:spMkLst>
        </pc:spChg>
        <pc:spChg chg="mod">
          <ac:chgData name="Ignacio MUNIOZGUREN GARCIA (ACER)" userId="b4b68ca2-c786-40d7-af41-7249f9a11048" providerId="ADAL" clId="{CDC096FD-8EAC-4BDE-B14E-9756A891EA09}" dt="2026-01-22T15:45:10.412" v="23950" actId="20577"/>
          <ac:spMkLst>
            <pc:docMk/>
            <pc:sldMk cId="2150885860" sldId="2147479414"/>
            <ac:spMk id="18" creationId="{DA1FD894-14BD-21D8-3124-B68CDEBAF3F4}"/>
          </ac:spMkLst>
        </pc:spChg>
        <pc:spChg chg="mod">
          <ac:chgData name="Ignacio MUNIOZGUREN GARCIA (ACER)" userId="b4b68ca2-c786-40d7-af41-7249f9a11048" providerId="ADAL" clId="{CDC096FD-8EAC-4BDE-B14E-9756A891EA09}" dt="2026-01-22T15:41:46.285" v="23790" actId="113"/>
          <ac:spMkLst>
            <pc:docMk/>
            <pc:sldMk cId="2150885860" sldId="2147479414"/>
            <ac:spMk id="19" creationId="{4519F68F-B3DE-BF87-2422-138F95CFAAE2}"/>
          </ac:spMkLst>
        </pc:spChg>
        <pc:spChg chg="mod">
          <ac:chgData name="Ignacio MUNIOZGUREN GARCIA (ACER)" userId="b4b68ca2-c786-40d7-af41-7249f9a11048" providerId="ADAL" clId="{CDC096FD-8EAC-4BDE-B14E-9756A891EA09}" dt="2026-01-22T15:41:49.420" v="23791" actId="113"/>
          <ac:spMkLst>
            <pc:docMk/>
            <pc:sldMk cId="2150885860" sldId="2147479414"/>
            <ac:spMk id="20" creationId="{FDB03BF3-3D95-CB3A-9A97-592FB51659D6}"/>
          </ac:spMkLst>
        </pc:spChg>
        <pc:spChg chg="mod">
          <ac:chgData name="Ignacio MUNIOZGUREN GARCIA (ACER)" userId="b4b68ca2-c786-40d7-af41-7249f9a11048" providerId="ADAL" clId="{CDC096FD-8EAC-4BDE-B14E-9756A891EA09}" dt="2026-01-22T15:45:15.405" v="23952" actId="20577"/>
          <ac:spMkLst>
            <pc:docMk/>
            <pc:sldMk cId="2150885860" sldId="2147479414"/>
            <ac:spMk id="21" creationId="{9516975D-DE26-7E24-C1D0-D7791F951F77}"/>
          </ac:spMkLst>
        </pc:spChg>
        <pc:spChg chg="mod">
          <ac:chgData name="Ignacio MUNIOZGUREN GARCIA (ACER)" userId="b4b68ca2-c786-40d7-af41-7249f9a11048" providerId="ADAL" clId="{CDC096FD-8EAC-4BDE-B14E-9756A891EA09}" dt="2026-01-22T15:44:08.785" v="23934" actId="1076"/>
          <ac:spMkLst>
            <pc:docMk/>
            <pc:sldMk cId="2150885860" sldId="2147479414"/>
            <ac:spMk id="22" creationId="{16757E2A-8A4D-35DD-D2D7-69CE784846E5}"/>
          </ac:spMkLst>
        </pc:spChg>
        <pc:spChg chg="mod">
          <ac:chgData name="Ignacio MUNIOZGUREN GARCIA (ACER)" userId="b4b68ca2-c786-40d7-af41-7249f9a11048" providerId="ADAL" clId="{CDC096FD-8EAC-4BDE-B14E-9756A891EA09}" dt="2026-01-22T15:41:59.419" v="23794" actId="113"/>
          <ac:spMkLst>
            <pc:docMk/>
            <pc:sldMk cId="2150885860" sldId="2147479414"/>
            <ac:spMk id="23" creationId="{8103D64B-4613-086C-F1E9-F0D143975E07}"/>
          </ac:spMkLst>
        </pc:spChg>
        <pc:spChg chg="mod">
          <ac:chgData name="Ignacio MUNIOZGUREN GARCIA (ACER)" userId="b4b68ca2-c786-40d7-af41-7249f9a11048" providerId="ADAL" clId="{CDC096FD-8EAC-4BDE-B14E-9756A891EA09}" dt="2026-01-22T15:44:38.116" v="23941" actId="1076"/>
          <ac:spMkLst>
            <pc:docMk/>
            <pc:sldMk cId="2150885860" sldId="2147479414"/>
            <ac:spMk id="25" creationId="{88D1EBB5-6AEC-40F3-F481-7D97884F96B3}"/>
          </ac:spMkLst>
        </pc:spChg>
        <pc:grpChg chg="mod">
          <ac:chgData name="Ignacio MUNIOZGUREN GARCIA (ACER)" userId="b4b68ca2-c786-40d7-af41-7249f9a11048" providerId="ADAL" clId="{CDC096FD-8EAC-4BDE-B14E-9756A891EA09}" dt="2026-02-02T13:16:50.661" v="30607" actId="1076"/>
          <ac:grpSpMkLst>
            <pc:docMk/>
            <pc:sldMk cId="2150885860" sldId="2147479414"/>
            <ac:grpSpMk id="6" creationId="{477E6AF1-AE90-7F23-AAC5-11067D38B4E8}"/>
          </ac:grpSpMkLst>
        </pc:grpChg>
        <pc:grpChg chg="mod">
          <ac:chgData name="Ignacio MUNIOZGUREN GARCIA (ACER)" userId="b4b68ca2-c786-40d7-af41-7249f9a11048" providerId="ADAL" clId="{CDC096FD-8EAC-4BDE-B14E-9756A891EA09}" dt="2026-01-22T15:42:59.715" v="23835" actId="1038"/>
          <ac:grpSpMkLst>
            <pc:docMk/>
            <pc:sldMk cId="2150885860" sldId="2147479414"/>
            <ac:grpSpMk id="17" creationId="{A9295224-7BC2-1E15-3C26-86D5DA81330A}"/>
          </ac:grpSpMkLst>
        </pc:grpChg>
        <pc:picChg chg="mod modCrop">
          <ac:chgData name="Ignacio MUNIOZGUREN GARCIA (ACER)" userId="b4b68ca2-c786-40d7-af41-7249f9a11048" providerId="ADAL" clId="{CDC096FD-8EAC-4BDE-B14E-9756A891EA09}" dt="2026-02-02T13:26:59.351" v="31020" actId="732"/>
          <ac:picMkLst>
            <pc:docMk/>
            <pc:sldMk cId="2150885860" sldId="2147479414"/>
            <ac:picMk id="12" creationId="{C16282D5-1A58-D644-BC8C-8D2C7B64104E}"/>
          </ac:picMkLst>
        </pc:picChg>
        <pc:picChg chg="mod modCrop">
          <ac:chgData name="Ignacio MUNIOZGUREN GARCIA (ACER)" userId="b4b68ca2-c786-40d7-af41-7249f9a11048" providerId="ADAL" clId="{CDC096FD-8EAC-4BDE-B14E-9756A891EA09}" dt="2026-02-02T13:26:49.696" v="31018" actId="732"/>
          <ac:picMkLst>
            <pc:docMk/>
            <pc:sldMk cId="2150885860" sldId="2147479414"/>
            <ac:picMk id="13" creationId="{472EAE36-E2D6-032E-A904-A4A578128D4F}"/>
          </ac:picMkLst>
        </pc:picChg>
        <pc:picChg chg="mod modCrop">
          <ac:chgData name="Ignacio MUNIOZGUREN GARCIA (ACER)" userId="b4b68ca2-c786-40d7-af41-7249f9a11048" providerId="ADAL" clId="{CDC096FD-8EAC-4BDE-B14E-9756A891EA09}" dt="2026-01-22T15:42:47.897" v="23804" actId="1076"/>
          <ac:picMkLst>
            <pc:docMk/>
            <pc:sldMk cId="2150885860" sldId="2147479414"/>
            <ac:picMk id="34" creationId="{1B653DF3-1C93-EFDB-C407-7FC90BCAA95C}"/>
          </ac:picMkLst>
        </pc:picChg>
        <pc:picChg chg="mod modCrop">
          <ac:chgData name="Ignacio MUNIOZGUREN GARCIA (ACER)" userId="b4b68ca2-c786-40d7-af41-7249f9a11048" providerId="ADAL" clId="{CDC096FD-8EAC-4BDE-B14E-9756A891EA09}" dt="2026-01-22T15:43:03.569" v="23836" actId="1076"/>
          <ac:picMkLst>
            <pc:docMk/>
            <pc:sldMk cId="2150885860" sldId="2147479414"/>
            <ac:picMk id="36" creationId="{2E6432AB-A713-F019-8540-E28CFD01FDC9}"/>
          </ac:picMkLst>
        </pc:picChg>
        <pc:cxnChg chg="mod">
          <ac:chgData name="Ignacio MUNIOZGUREN GARCIA (ACER)" userId="b4b68ca2-c786-40d7-af41-7249f9a11048" providerId="ADAL" clId="{CDC096FD-8EAC-4BDE-B14E-9756A891EA09}" dt="2026-01-22T15:39:05.231" v="23741" actId="1076"/>
          <ac:cxnSpMkLst>
            <pc:docMk/>
            <pc:sldMk cId="2150885860" sldId="2147479414"/>
            <ac:cxnSpMk id="29" creationId="{C127F7C6-172C-231E-BB90-298642CA4B92}"/>
          </ac:cxnSpMkLst>
        </pc:cxnChg>
        <pc:cxnChg chg="mod">
          <ac:chgData name="Ignacio MUNIOZGUREN GARCIA (ACER)" userId="b4b68ca2-c786-40d7-af41-7249f9a11048" providerId="ADAL" clId="{CDC096FD-8EAC-4BDE-B14E-9756A891EA09}" dt="2026-01-22T15:39:53.295" v="23756" actId="1076"/>
          <ac:cxnSpMkLst>
            <pc:docMk/>
            <pc:sldMk cId="2150885860" sldId="2147479414"/>
            <ac:cxnSpMk id="30" creationId="{078B221C-E260-3AC0-8D87-74E03EF7E0B5}"/>
          </ac:cxnSpMkLst>
        </pc:cxnChg>
        <pc:cxnChg chg="mod">
          <ac:chgData name="Ignacio MUNIOZGUREN GARCIA (ACER)" userId="b4b68ca2-c786-40d7-af41-7249f9a11048" providerId="ADAL" clId="{CDC096FD-8EAC-4BDE-B14E-9756A891EA09}" dt="2026-01-22T15:44:22.019" v="23937" actId="14100"/>
          <ac:cxnSpMkLst>
            <pc:docMk/>
            <pc:sldMk cId="2150885860" sldId="2147479414"/>
            <ac:cxnSpMk id="31" creationId="{04E4DFBB-CCF8-C231-E706-AA24B8FB8431}"/>
          </ac:cxnSpMkLst>
        </pc:cxnChg>
        <pc:cxnChg chg="mod">
          <ac:chgData name="Ignacio MUNIOZGUREN GARCIA (ACER)" userId="b4b68ca2-c786-40d7-af41-7249f9a11048" providerId="ADAL" clId="{CDC096FD-8EAC-4BDE-B14E-9756A891EA09}" dt="2026-02-02T13:16:56.193" v="30609" actId="14100"/>
          <ac:cxnSpMkLst>
            <pc:docMk/>
            <pc:sldMk cId="2150885860" sldId="2147479414"/>
            <ac:cxnSpMk id="33" creationId="{B85C03B7-CE25-572A-2C4B-0607AF361D30}"/>
          </ac:cxnSpMkLst>
        </pc:cxnChg>
      </pc:sldChg>
      <pc:sldChg chg="addSp delSp modSp mod ord modCm">
        <pc:chgData name="Ignacio MUNIOZGUREN GARCIA (ACER)" userId="b4b68ca2-c786-40d7-af41-7249f9a11048" providerId="ADAL" clId="{CDC096FD-8EAC-4BDE-B14E-9756A891EA09}" dt="2026-02-05T14:06:04.278" v="36680" actId="20577"/>
        <pc:sldMkLst>
          <pc:docMk/>
          <pc:sldMk cId="2472124491" sldId="2147479415"/>
        </pc:sldMkLst>
        <pc:spChg chg="mod">
          <ac:chgData name="Ignacio MUNIOZGUREN GARCIA (ACER)" userId="b4b68ca2-c786-40d7-af41-7249f9a11048" providerId="ADAL" clId="{CDC096FD-8EAC-4BDE-B14E-9756A891EA09}" dt="2026-02-05T14:06:04.278" v="36680" actId="20577"/>
          <ac:spMkLst>
            <pc:docMk/>
            <pc:sldMk cId="2472124491" sldId="2147479415"/>
            <ac:spMk id="2" creationId="{415459CA-8CDA-1CA1-06D3-E509674C5D6D}"/>
          </ac:spMkLst>
        </pc:spChg>
        <pc:spChg chg="add mod">
          <ac:chgData name="Ignacio MUNIOZGUREN GARCIA (ACER)" userId="b4b68ca2-c786-40d7-af41-7249f9a11048" providerId="ADAL" clId="{CDC096FD-8EAC-4BDE-B14E-9756A891EA09}" dt="2026-02-02T12:47:20.231" v="30005" actId="1076"/>
          <ac:spMkLst>
            <pc:docMk/>
            <pc:sldMk cId="2472124491" sldId="2147479415"/>
            <ac:spMk id="3" creationId="{48EDECE8-A7D7-D95C-A3A2-EDA83CB48C87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2472124491" sldId="2147479415"/>
            <ac:spMk id="4" creationId="{97F29E97-A4C3-AD24-1C44-23C2F188ACE4}"/>
          </ac:spMkLst>
        </pc:spChg>
        <pc:spChg chg="mod">
          <ac:chgData name="Ignacio MUNIOZGUREN GARCIA (ACER)" userId="b4b68ca2-c786-40d7-af41-7249f9a11048" providerId="ADAL" clId="{CDC096FD-8EAC-4BDE-B14E-9756A891EA09}" dt="2026-02-02T13:27:34.675" v="31032" actId="404"/>
          <ac:spMkLst>
            <pc:docMk/>
            <pc:sldMk cId="2472124491" sldId="2147479415"/>
            <ac:spMk id="5" creationId="{773A8B95-E2E9-BB42-673A-80730981429F}"/>
          </ac:spMkLst>
        </pc:spChg>
        <pc:picChg chg="add mod modCrop">
          <ac:chgData name="Ignacio MUNIOZGUREN GARCIA (ACER)" userId="b4b68ca2-c786-40d7-af41-7249f9a11048" providerId="ADAL" clId="{CDC096FD-8EAC-4BDE-B14E-9756A891EA09}" dt="2026-01-22T10:19:03.778" v="19700" actId="1076"/>
          <ac:picMkLst>
            <pc:docMk/>
            <pc:sldMk cId="2472124491" sldId="2147479415"/>
            <ac:picMk id="14" creationId="{573A849D-C1FF-891A-D3D5-7DE2966E0132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gnacio MUNIOZGUREN GARCIA (ACER)" userId="b4b68ca2-c786-40d7-af41-7249f9a11048" providerId="ADAL" clId="{CDC096FD-8EAC-4BDE-B14E-9756A891EA09}" dt="2026-01-15T15:49:08.749" v="17440" actId="21"/>
              <pc2:cmMkLst xmlns:pc2="http://schemas.microsoft.com/office/powerpoint/2019/9/main/command">
                <pc:docMk/>
                <pc:sldMk cId="2472124491" sldId="2147479415"/>
                <pc2:cmMk id="{FF826783-5BBA-4A47-ACA0-FB1C46FA0C7C}"/>
              </pc2:cmMkLst>
            </pc226:cmChg>
            <pc226:cmChg xmlns:pc226="http://schemas.microsoft.com/office/powerpoint/2022/06/main/command" chg="mod">
              <pc226:chgData name="Ignacio MUNIOZGUREN GARCIA (ACER)" userId="b4b68ca2-c786-40d7-af41-7249f9a11048" providerId="ADAL" clId="{CDC096FD-8EAC-4BDE-B14E-9756A891EA09}" dt="2026-01-15T15:49:08.749" v="17440" actId="21"/>
              <pc2:cmMkLst xmlns:pc2="http://schemas.microsoft.com/office/powerpoint/2019/9/main/command">
                <pc:docMk/>
                <pc:sldMk cId="2472124491" sldId="2147479415"/>
                <pc2:cmMk id="{D49F3DD0-7ECD-4CDD-9467-22B05040A6FB}"/>
              </pc2:cmMkLst>
            </pc226:cmChg>
            <pc226:cmChg xmlns:pc226="http://schemas.microsoft.com/office/powerpoint/2022/06/main/command" chg="mod">
              <pc226:chgData name="Ignacio MUNIOZGUREN GARCIA (ACER)" userId="b4b68ca2-c786-40d7-af41-7249f9a11048" providerId="ADAL" clId="{CDC096FD-8EAC-4BDE-B14E-9756A891EA09}" dt="2026-01-15T15:49:08.749" v="17440" actId="21"/>
              <pc2:cmMkLst xmlns:pc2="http://schemas.microsoft.com/office/powerpoint/2019/9/main/command">
                <pc:docMk/>
                <pc:sldMk cId="2472124491" sldId="2147479415"/>
                <pc2:cmMk id="{ACAA48F7-C01F-4A8D-B1DD-2CC83AED7890}"/>
              </pc2:cmMkLst>
            </pc226:cmChg>
          </p:ext>
        </pc:extLst>
      </pc:sldChg>
      <pc:sldChg chg="addSp delSp modSp add mod ord">
        <pc:chgData name="Ignacio MUNIOZGUREN GARCIA (ACER)" userId="b4b68ca2-c786-40d7-af41-7249f9a11048" providerId="ADAL" clId="{CDC096FD-8EAC-4BDE-B14E-9756A891EA09}" dt="2026-02-05T14:06:20.197" v="36683" actId="20577"/>
        <pc:sldMkLst>
          <pc:docMk/>
          <pc:sldMk cId="3105000074" sldId="2147479422"/>
        </pc:sldMkLst>
        <pc:spChg chg="mod">
          <ac:chgData name="Ignacio MUNIOZGUREN GARCIA (ACER)" userId="b4b68ca2-c786-40d7-af41-7249f9a11048" providerId="ADAL" clId="{CDC096FD-8EAC-4BDE-B14E-9756A891EA09}" dt="2026-02-05T14:06:20.197" v="36683" actId="20577"/>
          <ac:spMkLst>
            <pc:docMk/>
            <pc:sldMk cId="3105000074" sldId="2147479422"/>
            <ac:spMk id="2" creationId="{7CC671C6-3556-DF31-BE91-8BF28C8CE434}"/>
          </ac:spMkLst>
        </pc:spChg>
        <pc:spChg chg="mod">
          <ac:chgData name="Ignacio MUNIOZGUREN GARCIA (ACER)" userId="b4b68ca2-c786-40d7-af41-7249f9a11048" providerId="ADAL" clId="{CDC096FD-8EAC-4BDE-B14E-9756A891EA09}" dt="2026-02-02T14:01:24.234" v="31570" actId="14100"/>
          <ac:spMkLst>
            <pc:docMk/>
            <pc:sldMk cId="3105000074" sldId="2147479422"/>
            <ac:spMk id="3" creationId="{0D224456-3568-0031-B12B-70A4B5DB7BAD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3105000074" sldId="2147479422"/>
            <ac:spMk id="4" creationId="{CAB6332B-9DF3-6DE4-68B3-6717A9A56ED4}"/>
          </ac:spMkLst>
        </pc:spChg>
        <pc:picChg chg="mod">
          <ac:chgData name="Ignacio MUNIOZGUREN GARCIA (ACER)" userId="b4b68ca2-c786-40d7-af41-7249f9a11048" providerId="ADAL" clId="{CDC096FD-8EAC-4BDE-B14E-9756A891EA09}" dt="2026-02-02T11:06:45.346" v="29181" actId="1076"/>
          <ac:picMkLst>
            <pc:docMk/>
            <pc:sldMk cId="3105000074" sldId="2147479422"/>
            <ac:picMk id="6" creationId="{D18D4C6C-AD9B-A860-A7CA-785A77893259}"/>
          </ac:picMkLst>
        </pc:picChg>
      </pc:sldChg>
      <pc:sldChg chg="addSp delSp modSp add mod modNotesTx">
        <pc:chgData name="Ignacio MUNIOZGUREN GARCIA (ACER)" userId="b4b68ca2-c786-40d7-af41-7249f9a11048" providerId="ADAL" clId="{CDC096FD-8EAC-4BDE-B14E-9756A891EA09}" dt="2026-02-03T13:05:37.523" v="36247" actId="207"/>
        <pc:sldMkLst>
          <pc:docMk/>
          <pc:sldMk cId="2949315634" sldId="2147479423"/>
        </pc:sldMkLst>
        <pc:spChg chg="mod">
          <ac:chgData name="Ignacio MUNIOZGUREN GARCIA (ACER)" userId="b4b68ca2-c786-40d7-af41-7249f9a11048" providerId="ADAL" clId="{CDC096FD-8EAC-4BDE-B14E-9756A891EA09}" dt="2026-02-02T10:41:50.306" v="28712" actId="14100"/>
          <ac:spMkLst>
            <pc:docMk/>
            <pc:sldMk cId="2949315634" sldId="2147479423"/>
            <ac:spMk id="3" creationId="{90E8ACFC-B1E5-9BE4-4EE8-8CFF6C5D66A8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2949315634" sldId="2147479423"/>
            <ac:spMk id="4" creationId="{E736D676-4AC3-845B-E47C-BDD34AE3C1A2}"/>
          </ac:spMkLst>
        </pc:spChg>
        <pc:spChg chg="mod">
          <ac:chgData name="Ignacio MUNIOZGUREN GARCIA (ACER)" userId="b4b68ca2-c786-40d7-af41-7249f9a11048" providerId="ADAL" clId="{CDC096FD-8EAC-4BDE-B14E-9756A891EA09}" dt="2026-02-03T13:05:37.523" v="36247" actId="207"/>
          <ac:spMkLst>
            <pc:docMk/>
            <pc:sldMk cId="2949315634" sldId="2147479423"/>
            <ac:spMk id="7" creationId="{BD99540D-3BA6-9C02-91FA-A5D96C0C142F}"/>
          </ac:spMkLst>
        </pc:spChg>
      </pc:sldChg>
      <pc:sldChg chg="addSp delSp modSp mod">
        <pc:chgData name="Ignacio MUNIOZGUREN GARCIA (ACER)" userId="b4b68ca2-c786-40d7-af41-7249f9a11048" providerId="ADAL" clId="{CDC096FD-8EAC-4BDE-B14E-9756A891EA09}" dt="2026-02-04T16:27:59.134" v="36397" actId="207"/>
        <pc:sldMkLst>
          <pc:docMk/>
          <pc:sldMk cId="559387092" sldId="2147479427"/>
        </pc:sldMkLst>
        <pc:spChg chg="mod">
          <ac:chgData name="Ignacio MUNIOZGUREN GARCIA (ACER)" userId="b4b68ca2-c786-40d7-af41-7249f9a11048" providerId="ADAL" clId="{CDC096FD-8EAC-4BDE-B14E-9756A891EA09}" dt="2026-02-04T16:27:59.134" v="36397" actId="207"/>
          <ac:spMkLst>
            <pc:docMk/>
            <pc:sldMk cId="559387092" sldId="2147479427"/>
            <ac:spMk id="3" creationId="{780C908D-F87D-6E45-97E2-03C0CD728E5A}"/>
          </ac:spMkLst>
        </pc:spChg>
      </pc:sldChg>
      <pc:sldChg chg="addSp delSp modSp mod ord modNotesTx">
        <pc:chgData name="Ignacio MUNIOZGUREN GARCIA (ACER)" userId="b4b68ca2-c786-40d7-af41-7249f9a11048" providerId="ADAL" clId="{CDC096FD-8EAC-4BDE-B14E-9756A891EA09}" dt="2026-02-05T14:10:12.698" v="36687" actId="20577"/>
        <pc:sldMkLst>
          <pc:docMk/>
          <pc:sldMk cId="1777677728" sldId="2147479431"/>
        </pc:sldMkLst>
        <pc:spChg chg="mod">
          <ac:chgData name="Ignacio MUNIOZGUREN GARCIA (ACER)" userId="b4b68ca2-c786-40d7-af41-7249f9a11048" providerId="ADAL" clId="{CDC096FD-8EAC-4BDE-B14E-9756A891EA09}" dt="2026-02-05T14:10:12.698" v="36687" actId="20577"/>
          <ac:spMkLst>
            <pc:docMk/>
            <pc:sldMk cId="1777677728" sldId="2147479431"/>
            <ac:spMk id="3" creationId="{661A79ED-1780-687A-3346-12BC77A93796}"/>
          </ac:spMkLst>
        </pc:spChg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1777677728" sldId="2147479431"/>
            <ac:spMk id="4" creationId="{872E3817-3599-B067-148C-20ED4CCA4EBE}"/>
          </ac:spMkLst>
        </pc:spChg>
        <pc:spChg chg="mod">
          <ac:chgData name="Ignacio MUNIOZGUREN GARCIA (ACER)" userId="b4b68ca2-c786-40d7-af41-7249f9a11048" providerId="ADAL" clId="{CDC096FD-8EAC-4BDE-B14E-9756A891EA09}" dt="2026-02-03T10:05:17.437" v="35890" actId="14100"/>
          <ac:spMkLst>
            <pc:docMk/>
            <pc:sldMk cId="1777677728" sldId="2147479431"/>
            <ac:spMk id="5" creationId="{54DCAD20-E859-40BE-77E3-3A396A0FF533}"/>
          </ac:spMkLst>
        </pc:spChg>
        <pc:spChg chg="mod">
          <ac:chgData name="Ignacio MUNIOZGUREN GARCIA (ACER)" userId="b4b68ca2-c786-40d7-af41-7249f9a11048" providerId="ADAL" clId="{CDC096FD-8EAC-4BDE-B14E-9756A891EA09}" dt="2026-02-03T13:05:59.970" v="36253" actId="207"/>
          <ac:spMkLst>
            <pc:docMk/>
            <pc:sldMk cId="1777677728" sldId="2147479431"/>
            <ac:spMk id="6" creationId="{5F5363AB-FA38-426D-7682-FBA54C35E5AE}"/>
          </ac:spMkLst>
        </pc:spChg>
      </pc:sldChg>
      <pc:sldChg chg="addSp delSp modSp add mod ord">
        <pc:chgData name="Ignacio MUNIOZGUREN GARCIA (ACER)" userId="b4b68ca2-c786-40d7-af41-7249f9a11048" providerId="ADAL" clId="{CDC096FD-8EAC-4BDE-B14E-9756A891EA09}" dt="2026-02-05T13:59:44.351" v="36666" actId="20577"/>
        <pc:sldMkLst>
          <pc:docMk/>
          <pc:sldMk cId="3313016620" sldId="2147479434"/>
        </pc:sldMkLst>
        <pc:spChg chg="mod">
          <ac:chgData name="Ignacio MUNIOZGUREN GARCIA (ACER)" userId="b4b68ca2-c786-40d7-af41-7249f9a11048" providerId="ADAL" clId="{CDC096FD-8EAC-4BDE-B14E-9756A891EA09}" dt="2026-01-28T09:51:07.668" v="24933"/>
          <ac:spMkLst>
            <pc:docMk/>
            <pc:sldMk cId="3313016620" sldId="2147479434"/>
            <ac:spMk id="4" creationId="{99EC0819-8013-D177-113D-B2DB2392FEF6}"/>
          </ac:spMkLst>
        </pc:spChg>
        <pc:spChg chg="mod">
          <ac:chgData name="Ignacio MUNIOZGUREN GARCIA (ACER)" userId="b4b68ca2-c786-40d7-af41-7249f9a11048" providerId="ADAL" clId="{CDC096FD-8EAC-4BDE-B14E-9756A891EA09}" dt="2026-02-05T13:59:44.351" v="36666" actId="20577"/>
          <ac:spMkLst>
            <pc:docMk/>
            <pc:sldMk cId="3313016620" sldId="2147479434"/>
            <ac:spMk id="5" creationId="{F1F3E8DB-006E-75AB-3311-2C39D9F1196F}"/>
          </ac:spMkLst>
        </pc:spChg>
        <pc:spChg chg="mod">
          <ac:chgData name="Ignacio MUNIOZGUREN GARCIA (ACER)" userId="b4b68ca2-c786-40d7-af41-7249f9a11048" providerId="ADAL" clId="{CDC096FD-8EAC-4BDE-B14E-9756A891EA09}" dt="2026-02-03T13:06:09.891" v="36256" actId="207"/>
          <ac:spMkLst>
            <pc:docMk/>
            <pc:sldMk cId="3313016620" sldId="2147479434"/>
            <ac:spMk id="7" creationId="{48F5E12E-DEA7-FEB6-E843-7F70FA78838E}"/>
          </ac:spMkLst>
        </pc:spChg>
      </pc:sldChg>
      <pc:sldChg chg="addSp delSp modSp add mod ord">
        <pc:chgData name="Ignacio MUNIOZGUREN GARCIA (ACER)" userId="b4b68ca2-c786-40d7-af41-7249f9a11048" providerId="ADAL" clId="{CDC096FD-8EAC-4BDE-B14E-9756A891EA09}" dt="2026-02-05T14:05:10.521" v="36676" actId="207"/>
        <pc:sldMkLst>
          <pc:docMk/>
          <pc:sldMk cId="2457036201" sldId="2147479439"/>
        </pc:sldMkLst>
        <pc:spChg chg="mod">
          <ac:chgData name="Ignacio MUNIOZGUREN GARCIA (ACER)" userId="b4b68ca2-c786-40d7-af41-7249f9a11048" providerId="ADAL" clId="{CDC096FD-8EAC-4BDE-B14E-9756A891EA09}" dt="2026-02-05T14:05:10.521" v="36676" actId="207"/>
          <ac:spMkLst>
            <pc:docMk/>
            <pc:sldMk cId="2457036201" sldId="2147479439"/>
            <ac:spMk id="5" creationId="{734128FF-1F6E-210A-9FB2-27B99F716D14}"/>
          </ac:spMkLst>
        </pc:spChg>
        <pc:spChg chg="mod">
          <ac:chgData name="Ignacio MUNIOZGUREN GARCIA (ACER)" userId="b4b68ca2-c786-40d7-af41-7249f9a11048" providerId="ADAL" clId="{CDC096FD-8EAC-4BDE-B14E-9756A891EA09}" dt="2026-02-03T13:06:14.498" v="36257" actId="207"/>
          <ac:spMkLst>
            <pc:docMk/>
            <pc:sldMk cId="2457036201" sldId="2147479439"/>
            <ac:spMk id="7" creationId="{00DF95BA-AB15-815C-7776-2DF885332F13}"/>
          </ac:spMkLst>
        </pc:spChg>
        <pc:spChg chg="mod">
          <ac:chgData name="Ignacio MUNIOZGUREN GARCIA (ACER)" userId="b4b68ca2-c786-40d7-af41-7249f9a11048" providerId="ADAL" clId="{CDC096FD-8EAC-4BDE-B14E-9756A891EA09}" dt="2026-01-28T13:39:58.698" v="25308" actId="6549"/>
          <ac:spMkLst>
            <pc:docMk/>
            <pc:sldMk cId="2457036201" sldId="2147479439"/>
            <ac:spMk id="11" creationId="{AE11B3B5-196B-DB27-60E4-9B6DBFF700D0}"/>
          </ac:spMkLst>
        </pc:spChg>
      </pc:sldChg>
      <pc:sldChg chg="addSp delSp modSp add mod">
        <pc:chgData name="Ignacio MUNIOZGUREN GARCIA (ACER)" userId="b4b68ca2-c786-40d7-af41-7249f9a11048" providerId="ADAL" clId="{CDC096FD-8EAC-4BDE-B14E-9756A891EA09}" dt="2026-02-05T14:15:14.147" v="36725" actId="14100"/>
        <pc:sldMkLst>
          <pc:docMk/>
          <pc:sldMk cId="2908335074" sldId="2147479445"/>
        </pc:sldMkLst>
        <pc:spChg chg="mod">
          <ac:chgData name="Ignacio MUNIOZGUREN GARCIA (ACER)" userId="b4b68ca2-c786-40d7-af41-7249f9a11048" providerId="ADAL" clId="{CDC096FD-8EAC-4BDE-B14E-9756A891EA09}" dt="2026-02-03T13:05:42.608" v="36248" actId="207"/>
          <ac:spMkLst>
            <pc:docMk/>
            <pc:sldMk cId="2908335074" sldId="2147479445"/>
            <ac:spMk id="7" creationId="{A9217F65-225A-3D30-EA66-48DEFC49D1D5}"/>
          </ac:spMkLst>
        </pc:spChg>
        <pc:spChg chg="add mod">
          <ac:chgData name="Ignacio MUNIOZGUREN GARCIA (ACER)" userId="b4b68ca2-c786-40d7-af41-7249f9a11048" providerId="ADAL" clId="{CDC096FD-8EAC-4BDE-B14E-9756A891EA09}" dt="2026-02-05T14:15:14.147" v="36725" actId="14100"/>
          <ac:spMkLst>
            <pc:docMk/>
            <pc:sldMk cId="2908335074" sldId="2147479445"/>
            <ac:spMk id="10" creationId="{06187594-F625-A988-8590-570ECE3F25AE}"/>
          </ac:spMkLst>
        </pc:spChg>
      </pc:sldChg>
      <pc:sldChg chg="addSp delSp modSp add mod modCm">
        <pc:chgData name="Ignacio MUNIOZGUREN GARCIA (ACER)" userId="b4b68ca2-c786-40d7-af41-7249f9a11048" providerId="ADAL" clId="{CDC096FD-8EAC-4BDE-B14E-9756A891EA09}" dt="2026-02-03T13:06:38.960" v="36265" actId="20577"/>
        <pc:sldMkLst>
          <pc:docMk/>
          <pc:sldMk cId="3889354698" sldId="2147479453"/>
        </pc:sldMkLst>
        <pc:spChg chg="add mod">
          <ac:chgData name="Ignacio MUNIOZGUREN GARCIA (ACER)" userId="b4b68ca2-c786-40d7-af41-7249f9a11048" providerId="ADAL" clId="{CDC096FD-8EAC-4BDE-B14E-9756A891EA09}" dt="2026-02-02T16:20:02.154" v="34780" actId="20577"/>
          <ac:spMkLst>
            <pc:docMk/>
            <pc:sldMk cId="3889354698" sldId="2147479453"/>
            <ac:spMk id="5" creationId="{15E576E8-4319-9AA3-C33E-64F05AE6DC0A}"/>
          </ac:spMkLst>
        </pc:spChg>
        <pc:spChg chg="mod">
          <ac:chgData name="Ignacio MUNIOZGUREN GARCIA (ACER)" userId="b4b68ca2-c786-40d7-af41-7249f9a11048" providerId="ADAL" clId="{CDC096FD-8EAC-4BDE-B14E-9756A891EA09}" dt="2026-02-03T13:06:38.960" v="36265" actId="20577"/>
          <ac:spMkLst>
            <pc:docMk/>
            <pc:sldMk cId="3889354698" sldId="2147479453"/>
            <ac:spMk id="7" creationId="{6569CC9A-7253-EA99-0F72-3239F3CC2A8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gnacio MUNIOZGUREN GARCIA (ACER)" userId="b4b68ca2-c786-40d7-af41-7249f9a11048" providerId="ADAL" clId="{CDC096FD-8EAC-4BDE-B14E-9756A891EA09}" dt="2026-02-02T16:20:02.154" v="34780" actId="20577"/>
              <pc2:cmMkLst xmlns:pc2="http://schemas.microsoft.com/office/powerpoint/2019/9/main/command">
                <pc:docMk/>
                <pc:sldMk cId="3889354698" sldId="2147479453"/>
                <pc2:cmMk id="{A0796D8A-8B40-455C-A417-748024747B6B}"/>
              </pc2:cmMkLst>
            </pc226:cmChg>
          </p:ext>
        </pc:extLst>
      </pc:sldChg>
      <pc:sldChg chg="addSp delSp modSp mod ord">
        <pc:chgData name="Ignacio MUNIOZGUREN GARCIA (ACER)" userId="b4b68ca2-c786-40d7-af41-7249f9a11048" providerId="ADAL" clId="{CDC096FD-8EAC-4BDE-B14E-9756A891EA09}" dt="2026-02-05T14:06:45.299" v="36686" actId="20577"/>
        <pc:sldMkLst>
          <pc:docMk/>
          <pc:sldMk cId="914411814" sldId="2147479454"/>
        </pc:sldMkLst>
        <pc:spChg chg="mod">
          <ac:chgData name="Ignacio MUNIOZGUREN GARCIA (ACER)" userId="b4b68ca2-c786-40d7-af41-7249f9a11048" providerId="ADAL" clId="{CDC096FD-8EAC-4BDE-B14E-9756A891EA09}" dt="2026-02-05T14:06:45.299" v="36686" actId="20577"/>
          <ac:spMkLst>
            <pc:docMk/>
            <pc:sldMk cId="914411814" sldId="2147479454"/>
            <ac:spMk id="7" creationId="{A243C27E-C9C6-0F9C-1625-2479E145694A}"/>
          </ac:spMkLst>
        </pc:spChg>
      </pc:sldChg>
      <pc:sldChg chg="addSp delSp modSp new mod modClrScheme chgLayout">
        <pc:chgData name="Ignacio MUNIOZGUREN GARCIA (ACER)" userId="b4b68ca2-c786-40d7-af41-7249f9a11048" providerId="ADAL" clId="{CDC096FD-8EAC-4BDE-B14E-9756A891EA09}" dt="2026-02-03T09:33:53.908" v="35733" actId="478"/>
        <pc:sldMkLst>
          <pc:docMk/>
          <pc:sldMk cId="3579732570" sldId="2147479455"/>
        </pc:sldMkLst>
        <pc:spChg chg="add mod">
          <ac:chgData name="Ignacio MUNIOZGUREN GARCIA (ACER)" userId="b4b68ca2-c786-40d7-af41-7249f9a11048" providerId="ADAL" clId="{CDC096FD-8EAC-4BDE-B14E-9756A891EA09}" dt="2026-02-03T09:33:51.366" v="35732" actId="20577"/>
          <ac:spMkLst>
            <pc:docMk/>
            <pc:sldMk cId="3579732570" sldId="2147479455"/>
            <ac:spMk id="2" creationId="{42680B97-B7F5-C7A4-17A2-DF2545314F1A}"/>
          </ac:spMkLst>
        </pc:spChg>
      </pc:sldChg>
    </pc:docChg>
  </pc:docChgLst>
  <pc:docChgLst>
    <pc:chgData name="Natalia PARASKEVOPOULOU (ACER)" userId="S::natalia.paraskevopoulou@acer.europa.eu::ff0af89a-6dd4-4797-a431-66cea73ae495" providerId="AD" clId="Web-{ABF52188-D5E9-78ED-59C8-1728F0843EC9}"/>
    <pc:docChg chg="addSld modSld">
      <pc:chgData name="Natalia PARASKEVOPOULOU (ACER)" userId="S::natalia.paraskevopoulou@acer.europa.eu::ff0af89a-6dd4-4797-a431-66cea73ae495" providerId="AD" clId="Web-{ABF52188-D5E9-78ED-59C8-1728F0843EC9}" dt="2026-01-13T16:05:07.978" v="152"/>
      <pc:docMkLst>
        <pc:docMk/>
      </pc:docMkLst>
      <pc:sldChg chg="addSp delSp modSp add replId">
        <pc:chgData name="Natalia PARASKEVOPOULOU (ACER)" userId="S::natalia.paraskevopoulou@acer.europa.eu::ff0af89a-6dd4-4797-a431-66cea73ae495" providerId="AD" clId="Web-{ABF52188-D5E9-78ED-59C8-1728F0843EC9}" dt="2026-01-13T16:05:07.978" v="152"/>
        <pc:sldMkLst>
          <pc:docMk/>
          <pc:sldMk cId="2150885860" sldId="2147479414"/>
        </pc:sldMkLst>
        <pc:spChg chg="mod">
          <ac:chgData name="Natalia PARASKEVOPOULOU (ACER)" userId="S::natalia.paraskevopoulou@acer.europa.eu::ff0af89a-6dd4-4797-a431-66cea73ae495" providerId="AD" clId="Web-{ABF52188-D5E9-78ED-59C8-1728F0843EC9}" dt="2026-01-13T16:03:39.898" v="146" actId="20577"/>
          <ac:spMkLst>
            <pc:docMk/>
            <pc:sldMk cId="2150885860" sldId="2147479414"/>
            <ac:spMk id="5" creationId="{1F6A7C4A-8AC5-2908-599D-5533B86FAFBB}"/>
          </ac:spMkLst>
        </pc:spChg>
      </pc:sldChg>
      <pc:sldChg chg="add replId">
        <pc:chgData name="Natalia PARASKEVOPOULOU (ACER)" userId="S::natalia.paraskevopoulou@acer.europa.eu::ff0af89a-6dd4-4797-a431-66cea73ae495" providerId="AD" clId="Web-{ABF52188-D5E9-78ED-59C8-1728F0843EC9}" dt="2026-01-13T16:03:03.445" v="140"/>
        <pc:sldMkLst>
          <pc:docMk/>
          <pc:sldMk cId="2472124491" sldId="2147479415"/>
        </pc:sldMkLst>
      </pc:sldChg>
    </pc:docChg>
  </pc:docChgLst>
  <pc:docChgLst>
    <pc:chgData name="Zoran VUJASINOVIC (ACER)" userId="688f2554-a1bf-42ce-8bbb-1c4d4ff2b53c" providerId="ADAL" clId="{D9D1F8CA-E137-41FB-B12A-68E2884397BD}"/>
    <pc:docChg chg="undo redo custSel addSld delSld modSld sldOrd">
      <pc:chgData name="Zoran VUJASINOVIC (ACER)" userId="688f2554-a1bf-42ce-8bbb-1c4d4ff2b53c" providerId="ADAL" clId="{D9D1F8CA-E137-41FB-B12A-68E2884397BD}" dt="2026-02-05T14:11:28.770" v="9923"/>
      <pc:docMkLst>
        <pc:docMk/>
      </pc:docMkLst>
      <pc:sldChg chg="modSp mod">
        <pc:chgData name="Zoran VUJASINOVIC (ACER)" userId="688f2554-a1bf-42ce-8bbb-1c4d4ff2b53c" providerId="ADAL" clId="{D9D1F8CA-E137-41FB-B12A-68E2884397BD}" dt="2026-01-28T15:17:12.708" v="3190" actId="20577"/>
        <pc:sldMkLst>
          <pc:docMk/>
          <pc:sldMk cId="1388073608" sldId="274"/>
        </pc:sldMkLst>
        <pc:spChg chg="mod">
          <ac:chgData name="Zoran VUJASINOVIC (ACER)" userId="688f2554-a1bf-42ce-8bbb-1c4d4ff2b53c" providerId="ADAL" clId="{D9D1F8CA-E137-41FB-B12A-68E2884397BD}" dt="2026-01-28T15:17:12.708" v="3190" actId="20577"/>
          <ac:spMkLst>
            <pc:docMk/>
            <pc:sldMk cId="1388073608" sldId="274"/>
            <ac:spMk id="3" creationId="{8C07C45C-114B-8E40-8028-E1EDB24CAAF3}"/>
          </ac:spMkLst>
        </pc:spChg>
      </pc:sldChg>
      <pc:sldChg chg="addSp delSp modSp mod">
        <pc:chgData name="Zoran VUJASINOVIC (ACER)" userId="688f2554-a1bf-42ce-8bbb-1c4d4ff2b53c" providerId="ADAL" clId="{D9D1F8CA-E137-41FB-B12A-68E2884397BD}" dt="2026-02-03T12:45:10.467" v="7962" actId="20577"/>
        <pc:sldMkLst>
          <pc:docMk/>
          <pc:sldMk cId="20202796" sldId="280"/>
        </pc:sldMkLst>
        <pc:spChg chg="add mod">
          <ac:chgData name="Zoran VUJASINOVIC (ACER)" userId="688f2554-a1bf-42ce-8bbb-1c4d4ff2b53c" providerId="ADAL" clId="{D9D1F8CA-E137-41FB-B12A-68E2884397BD}" dt="2026-02-03T12:45:10.467" v="7962" actId="20577"/>
          <ac:spMkLst>
            <pc:docMk/>
            <pc:sldMk cId="20202796" sldId="280"/>
            <ac:spMk id="13" creationId="{AEDF76A3-C2F2-0544-7809-7B78441EF777}"/>
          </ac:spMkLst>
        </pc:spChg>
      </pc:sldChg>
      <pc:sldChg chg="addSp delSp modSp mod ord">
        <pc:chgData name="Zoran VUJASINOVIC (ACER)" userId="688f2554-a1bf-42ce-8bbb-1c4d4ff2b53c" providerId="ADAL" clId="{D9D1F8CA-E137-41FB-B12A-68E2884397BD}" dt="2026-01-22T14:43:43.754" v="2341"/>
        <pc:sldMkLst>
          <pc:docMk/>
          <pc:sldMk cId="1865443466" sldId="293"/>
        </pc:sldMkLst>
      </pc:sldChg>
      <pc:sldChg chg="addSp delSp modSp mod">
        <pc:chgData name="Zoran VUJASINOVIC (ACER)" userId="688f2554-a1bf-42ce-8bbb-1c4d4ff2b53c" providerId="ADAL" clId="{D9D1F8CA-E137-41FB-B12A-68E2884397BD}" dt="2026-02-03T12:51:29.483" v="8253" actId="20577"/>
        <pc:sldMkLst>
          <pc:docMk/>
          <pc:sldMk cId="1060430040" sldId="2147479327"/>
        </pc:sldMkLst>
        <pc:spChg chg="add mod">
          <ac:chgData name="Zoran VUJASINOVIC (ACER)" userId="688f2554-a1bf-42ce-8bbb-1c4d4ff2b53c" providerId="ADAL" clId="{D9D1F8CA-E137-41FB-B12A-68E2884397BD}" dt="2026-02-03T12:51:29.483" v="8253" actId="20577"/>
          <ac:spMkLst>
            <pc:docMk/>
            <pc:sldMk cId="1060430040" sldId="2147479327"/>
            <ac:spMk id="9" creationId="{7F303290-0908-AD39-5CB2-EDBF4F829C52}"/>
          </ac:spMkLst>
        </pc:spChg>
      </pc:sldChg>
      <pc:sldChg chg="addSp delSp modSp add mod">
        <pc:chgData name="Zoran VUJASINOVIC (ACER)" userId="688f2554-a1bf-42ce-8bbb-1c4d4ff2b53c" providerId="ADAL" clId="{D9D1F8CA-E137-41FB-B12A-68E2884397BD}" dt="2026-02-03T12:58:08.495" v="8537" actId="20577"/>
        <pc:sldMkLst>
          <pc:docMk/>
          <pc:sldMk cId="1579791411" sldId="2147479328"/>
        </pc:sldMkLst>
        <pc:spChg chg="mod">
          <ac:chgData name="Zoran VUJASINOVIC (ACER)" userId="688f2554-a1bf-42ce-8bbb-1c4d4ff2b53c" providerId="ADAL" clId="{D9D1F8CA-E137-41FB-B12A-68E2884397BD}" dt="2026-02-03T12:58:08.495" v="8537" actId="20577"/>
          <ac:spMkLst>
            <pc:docMk/>
            <pc:sldMk cId="1579791411" sldId="2147479328"/>
            <ac:spMk id="5" creationId="{70D9F418-AC80-FF87-B7F4-65C55C2F1B9A}"/>
          </ac:spMkLst>
        </pc:spChg>
        <pc:spChg chg="add mod">
          <ac:chgData name="Zoran VUJASINOVIC (ACER)" userId="688f2554-a1bf-42ce-8bbb-1c4d4ff2b53c" providerId="ADAL" clId="{D9D1F8CA-E137-41FB-B12A-68E2884397BD}" dt="2026-02-03T12:45:02.192" v="7956" actId="20577"/>
          <ac:spMkLst>
            <pc:docMk/>
            <pc:sldMk cId="1579791411" sldId="2147479328"/>
            <ac:spMk id="7" creationId="{A0DCAAD7-4C7A-ECF8-3F70-4843B9390CA7}"/>
          </ac:spMkLst>
        </pc:spChg>
      </pc:sldChg>
      <pc:sldChg chg="addSp delSp modSp add mod">
        <pc:chgData name="Zoran VUJASINOVIC (ACER)" userId="688f2554-a1bf-42ce-8bbb-1c4d4ff2b53c" providerId="ADAL" clId="{D9D1F8CA-E137-41FB-B12A-68E2884397BD}" dt="2026-02-03T12:43:49.825" v="7906" actId="20577"/>
        <pc:sldMkLst>
          <pc:docMk/>
          <pc:sldMk cId="1377867079" sldId="2147479347"/>
        </pc:sldMkLst>
        <pc:spChg chg="add mod">
          <ac:chgData name="Zoran VUJASINOVIC (ACER)" userId="688f2554-a1bf-42ce-8bbb-1c4d4ff2b53c" providerId="ADAL" clId="{D9D1F8CA-E137-41FB-B12A-68E2884397BD}" dt="2026-02-03T12:43:49.825" v="7906" actId="20577"/>
          <ac:spMkLst>
            <pc:docMk/>
            <pc:sldMk cId="1377867079" sldId="2147479347"/>
            <ac:spMk id="2" creationId="{008D0A98-E8FF-6470-7DF3-302DEB1A0828}"/>
          </ac:spMkLst>
        </pc:spChg>
        <pc:spChg chg="mod">
          <ac:chgData name="Zoran VUJASINOVIC (ACER)" userId="688f2554-a1bf-42ce-8bbb-1c4d4ff2b53c" providerId="ADAL" clId="{D9D1F8CA-E137-41FB-B12A-68E2884397BD}" dt="2026-02-03T12:43:42.663" v="7905" actId="20577"/>
          <ac:spMkLst>
            <pc:docMk/>
            <pc:sldMk cId="1377867079" sldId="2147479347"/>
            <ac:spMk id="5" creationId="{34DE2013-B0FD-8319-92B0-AFB2D770CB55}"/>
          </ac:spMkLst>
        </pc:spChg>
      </pc:sldChg>
      <pc:sldChg chg="addSp delSp modSp add mod">
        <pc:chgData name="Zoran VUJASINOVIC (ACER)" userId="688f2554-a1bf-42ce-8bbb-1c4d4ff2b53c" providerId="ADAL" clId="{D9D1F8CA-E137-41FB-B12A-68E2884397BD}" dt="2026-02-05T13:44:54.195" v="9101" actId="20577"/>
        <pc:sldMkLst>
          <pc:docMk/>
          <pc:sldMk cId="2414518066" sldId="2147479382"/>
        </pc:sldMkLst>
        <pc:spChg chg="add mod">
          <ac:chgData name="Zoran VUJASINOVIC (ACER)" userId="688f2554-a1bf-42ce-8bbb-1c4d4ff2b53c" providerId="ADAL" clId="{D9D1F8CA-E137-41FB-B12A-68E2884397BD}" dt="2026-02-03T12:45:47.757" v="7987" actId="20577"/>
          <ac:spMkLst>
            <pc:docMk/>
            <pc:sldMk cId="2414518066" sldId="2147479382"/>
            <ac:spMk id="7" creationId="{265E3AE7-11B4-7AAF-6E4C-949F9760198E}"/>
          </ac:spMkLst>
        </pc:spChg>
        <pc:spChg chg="mod">
          <ac:chgData name="Zoran VUJASINOVIC (ACER)" userId="688f2554-a1bf-42ce-8bbb-1c4d4ff2b53c" providerId="ADAL" clId="{D9D1F8CA-E137-41FB-B12A-68E2884397BD}" dt="2026-02-05T13:44:54.195" v="9101" actId="20577"/>
          <ac:spMkLst>
            <pc:docMk/>
            <pc:sldMk cId="2414518066" sldId="2147479382"/>
            <ac:spMk id="8" creationId="{F7F3A9D8-AF6C-CADE-EC72-E7B754C1CCE1}"/>
          </ac:spMkLst>
        </pc:spChg>
      </pc:sldChg>
      <pc:sldChg chg="addSp delSp modSp mod">
        <pc:chgData name="Zoran VUJASINOVIC (ACER)" userId="688f2554-a1bf-42ce-8bbb-1c4d4ff2b53c" providerId="ADAL" clId="{D9D1F8CA-E137-41FB-B12A-68E2884397BD}" dt="2026-02-05T13:46:21.484" v="9120" actId="6549"/>
        <pc:sldMkLst>
          <pc:docMk/>
          <pc:sldMk cId="3371902250" sldId="2147479397"/>
        </pc:sldMkLst>
        <pc:spChg chg="add mod">
          <ac:chgData name="Zoran VUJASINOVIC (ACER)" userId="688f2554-a1bf-42ce-8bbb-1c4d4ff2b53c" providerId="ADAL" clId="{D9D1F8CA-E137-41FB-B12A-68E2884397BD}" dt="2026-02-05T13:46:21.484" v="9120" actId="6549"/>
          <ac:spMkLst>
            <pc:docMk/>
            <pc:sldMk cId="3371902250" sldId="2147479397"/>
            <ac:spMk id="8" creationId="{B832AC8B-6894-EBD7-9B5E-3EAB5260382D}"/>
          </ac:spMkLst>
        </pc:spChg>
        <pc:picChg chg="del">
          <ac:chgData name="Zoran VUJASINOVIC (ACER)" userId="688f2554-a1bf-42ce-8bbb-1c4d4ff2b53c" providerId="ADAL" clId="{D9D1F8CA-E137-41FB-B12A-68E2884397BD}" dt="2026-02-05T13:45:45.596" v="9102" actId="478"/>
          <ac:picMkLst>
            <pc:docMk/>
            <pc:sldMk cId="3371902250" sldId="2147479397"/>
            <ac:picMk id="16" creationId="{DE5AD0EA-31E7-1724-3941-A1695BE84A3A}"/>
          </ac:picMkLst>
        </pc:picChg>
      </pc:sldChg>
      <pc:sldChg chg="addSp delSp modSp mod modNotesTx">
        <pc:chgData name="Zoran VUJASINOVIC (ACER)" userId="688f2554-a1bf-42ce-8bbb-1c4d4ff2b53c" providerId="ADAL" clId="{D9D1F8CA-E137-41FB-B12A-68E2884397BD}" dt="2026-02-05T13:54:07.938" v="9656" actId="6549"/>
        <pc:sldMkLst>
          <pc:docMk/>
          <pc:sldMk cId="1871692232" sldId="2147479398"/>
        </pc:sldMkLst>
        <pc:spChg chg="mod">
          <ac:chgData name="Zoran VUJASINOVIC (ACER)" userId="688f2554-a1bf-42ce-8bbb-1c4d4ff2b53c" providerId="ADAL" clId="{D9D1F8CA-E137-41FB-B12A-68E2884397BD}" dt="2026-02-05T13:52:26.121" v="9463" actId="20577"/>
          <ac:spMkLst>
            <pc:docMk/>
            <pc:sldMk cId="1871692232" sldId="2147479398"/>
            <ac:spMk id="2" creationId="{4E039917-E743-CD37-4C38-AFCBCB941953}"/>
          </ac:spMkLst>
        </pc:spChg>
        <pc:spChg chg="mod">
          <ac:chgData name="Zoran VUJASINOVIC (ACER)" userId="688f2554-a1bf-42ce-8bbb-1c4d4ff2b53c" providerId="ADAL" clId="{D9D1F8CA-E137-41FB-B12A-68E2884397BD}" dt="2026-02-05T13:50:55.821" v="9345" actId="1035"/>
          <ac:spMkLst>
            <pc:docMk/>
            <pc:sldMk cId="1871692232" sldId="2147479398"/>
            <ac:spMk id="4" creationId="{80B0C4F2-BA79-B362-4A14-DA9045A155BB}"/>
          </ac:spMkLst>
        </pc:spChg>
        <pc:spChg chg="add mod">
          <ac:chgData name="Zoran VUJASINOVIC (ACER)" userId="688f2554-a1bf-42ce-8bbb-1c4d4ff2b53c" providerId="ADAL" clId="{D9D1F8CA-E137-41FB-B12A-68E2884397BD}" dt="2026-02-05T13:54:07.938" v="9656" actId="6549"/>
          <ac:spMkLst>
            <pc:docMk/>
            <pc:sldMk cId="1871692232" sldId="2147479398"/>
            <ac:spMk id="5" creationId="{9C0A60CE-6AA0-26F8-222D-6AAB446D70B5}"/>
          </ac:spMkLst>
        </pc:spChg>
        <pc:spChg chg="add mod">
          <ac:chgData name="Zoran VUJASINOVIC (ACER)" userId="688f2554-a1bf-42ce-8bbb-1c4d4ff2b53c" providerId="ADAL" clId="{D9D1F8CA-E137-41FB-B12A-68E2884397BD}" dt="2026-02-05T13:54:00.820" v="9655" actId="1038"/>
          <ac:spMkLst>
            <pc:docMk/>
            <pc:sldMk cId="1871692232" sldId="2147479398"/>
            <ac:spMk id="7" creationId="{FB58CA04-72E4-FFE4-4924-7487CAB4574E}"/>
          </ac:spMkLst>
        </pc:spChg>
        <pc:graphicFrameChg chg="add mod modGraphic">
          <ac:chgData name="Zoran VUJASINOVIC (ACER)" userId="688f2554-a1bf-42ce-8bbb-1c4d4ff2b53c" providerId="ADAL" clId="{D9D1F8CA-E137-41FB-B12A-68E2884397BD}" dt="2026-02-05T13:53:55.091" v="9630" actId="1037"/>
          <ac:graphicFrameMkLst>
            <pc:docMk/>
            <pc:sldMk cId="1871692232" sldId="2147479398"/>
            <ac:graphicFrameMk id="8" creationId="{23800E05-AA96-3FC5-E585-020D1F55AA43}"/>
          </ac:graphicFrameMkLst>
        </pc:graphicFrameChg>
      </pc:sldChg>
      <pc:sldChg chg="addSp delSp modSp mod modNotesTx">
        <pc:chgData name="Zoran VUJASINOVIC (ACER)" userId="688f2554-a1bf-42ce-8bbb-1c4d4ff2b53c" providerId="ADAL" clId="{D9D1F8CA-E137-41FB-B12A-68E2884397BD}" dt="2026-02-05T12:28:23.662" v="8620" actId="207"/>
        <pc:sldMkLst>
          <pc:docMk/>
          <pc:sldMk cId="1716519512" sldId="2147479409"/>
        </pc:sldMkLst>
        <pc:spChg chg="mod">
          <ac:chgData name="Zoran VUJASINOVIC (ACER)" userId="688f2554-a1bf-42ce-8bbb-1c4d4ff2b53c" providerId="ADAL" clId="{D9D1F8CA-E137-41FB-B12A-68E2884397BD}" dt="2026-02-05T12:28:23.662" v="8620" actId="207"/>
          <ac:spMkLst>
            <pc:docMk/>
            <pc:sldMk cId="1716519512" sldId="2147479409"/>
            <ac:spMk id="2" creationId="{1B3E1F03-EA95-FEDE-0674-0EC045BBDE40}"/>
          </ac:spMkLst>
        </pc:spChg>
        <pc:spChg chg="mod">
          <ac:chgData name="Zoran VUJASINOVIC (ACER)" userId="688f2554-a1bf-42ce-8bbb-1c4d4ff2b53c" providerId="ADAL" clId="{D9D1F8CA-E137-41FB-B12A-68E2884397BD}" dt="2026-02-02T16:08:34.503" v="7039" actId="403"/>
          <ac:spMkLst>
            <pc:docMk/>
            <pc:sldMk cId="1716519512" sldId="2147479409"/>
            <ac:spMk id="6" creationId="{826E3C0D-E46A-7CA7-542B-F7307B1D0782}"/>
          </ac:spMkLst>
        </pc:spChg>
        <pc:graphicFrameChg chg="add mod modGraphic">
          <ac:chgData name="Zoran VUJASINOVIC (ACER)" userId="688f2554-a1bf-42ce-8bbb-1c4d4ff2b53c" providerId="ADAL" clId="{D9D1F8CA-E137-41FB-B12A-68E2884397BD}" dt="2026-02-05T12:26:59.145" v="8571" actId="14100"/>
          <ac:graphicFrameMkLst>
            <pc:docMk/>
            <pc:sldMk cId="1716519512" sldId="2147479409"/>
            <ac:graphicFrameMk id="5" creationId="{EAE59B40-D30E-4D05-BD20-47FFD31D38D1}"/>
          </ac:graphicFrameMkLst>
        </pc:graphicFrameChg>
      </pc:sldChg>
      <pc:sldChg chg="addSp delSp modSp mod ord">
        <pc:chgData name="Zoran VUJASINOVIC (ACER)" userId="688f2554-a1bf-42ce-8bbb-1c4d4ff2b53c" providerId="ADAL" clId="{D9D1F8CA-E137-41FB-B12A-68E2884397BD}" dt="2026-02-05T14:05:52.493" v="9796"/>
        <pc:sldMkLst>
          <pc:docMk/>
          <pc:sldMk cId="2150885860" sldId="2147479414"/>
        </pc:sldMkLst>
        <pc:spChg chg="add mod">
          <ac:chgData name="Zoran VUJASINOVIC (ACER)" userId="688f2554-a1bf-42ce-8bbb-1c4d4ff2b53c" providerId="ADAL" clId="{D9D1F8CA-E137-41FB-B12A-68E2884397BD}" dt="2026-02-03T12:50:34.503" v="8234" actId="6549"/>
          <ac:spMkLst>
            <pc:docMk/>
            <pc:sldMk cId="2150885860" sldId="2147479414"/>
            <ac:spMk id="9" creationId="{6E5C0515-E28F-48B0-48F2-6A36A90FA63E}"/>
          </ac:spMkLst>
        </pc:spChg>
      </pc:sldChg>
      <pc:sldChg chg="addSp modSp">
        <pc:chgData name="Zoran VUJASINOVIC (ACER)" userId="688f2554-a1bf-42ce-8bbb-1c4d4ff2b53c" providerId="ADAL" clId="{D9D1F8CA-E137-41FB-B12A-68E2884397BD}" dt="2026-01-22T14:48:56.206" v="2419"/>
        <pc:sldMkLst>
          <pc:docMk/>
          <pc:sldMk cId="2472124491" sldId="2147479415"/>
        </pc:sldMkLst>
      </pc:sldChg>
      <pc:sldChg chg="addSp delSp modSp mod">
        <pc:chgData name="Zoran VUJASINOVIC (ACER)" userId="688f2554-a1bf-42ce-8bbb-1c4d4ff2b53c" providerId="ADAL" clId="{D9D1F8CA-E137-41FB-B12A-68E2884397BD}" dt="2026-02-03T12:45:16.652" v="7969" actId="20577"/>
        <pc:sldMkLst>
          <pc:docMk/>
          <pc:sldMk cId="2949315634" sldId="2147479423"/>
        </pc:sldMkLst>
        <pc:spChg chg="add mod">
          <ac:chgData name="Zoran VUJASINOVIC (ACER)" userId="688f2554-a1bf-42ce-8bbb-1c4d4ff2b53c" providerId="ADAL" clId="{D9D1F8CA-E137-41FB-B12A-68E2884397BD}" dt="2026-02-03T12:45:16.652" v="7969" actId="20577"/>
          <ac:spMkLst>
            <pc:docMk/>
            <pc:sldMk cId="2949315634" sldId="2147479423"/>
            <ac:spMk id="7" creationId="{BD99540D-3BA6-9C02-91FA-A5D96C0C142F}"/>
          </ac:spMkLst>
        </pc:spChg>
      </pc:sldChg>
      <pc:sldChg chg="addSp modSp add mod">
        <pc:chgData name="Zoran VUJASINOVIC (ACER)" userId="688f2554-a1bf-42ce-8bbb-1c4d4ff2b53c" providerId="ADAL" clId="{D9D1F8CA-E137-41FB-B12A-68E2884397BD}" dt="2026-02-05T12:24:52.033" v="8542" actId="20577"/>
        <pc:sldMkLst>
          <pc:docMk/>
          <pc:sldMk cId="559387092" sldId="2147479427"/>
        </pc:sldMkLst>
        <pc:spChg chg="mod">
          <ac:chgData name="Zoran VUJASINOVIC (ACER)" userId="688f2554-a1bf-42ce-8bbb-1c4d4ff2b53c" providerId="ADAL" clId="{D9D1F8CA-E137-41FB-B12A-68E2884397BD}" dt="2026-02-05T12:24:52.033" v="8542" actId="20577"/>
          <ac:spMkLst>
            <pc:docMk/>
            <pc:sldMk cId="559387092" sldId="2147479427"/>
            <ac:spMk id="3" creationId="{780C908D-F87D-6E45-97E2-03C0CD728E5A}"/>
          </ac:spMkLst>
        </pc:spChg>
      </pc:sldChg>
      <pc:sldChg chg="addSp delSp modSp add mod">
        <pc:chgData name="Zoran VUJASINOVIC (ACER)" userId="688f2554-a1bf-42ce-8bbb-1c4d4ff2b53c" providerId="ADAL" clId="{D9D1F8CA-E137-41FB-B12A-68E2884397BD}" dt="2026-02-05T14:10:22.669" v="9919" actId="27636"/>
        <pc:sldMkLst>
          <pc:docMk/>
          <pc:sldMk cId="1777677728" sldId="2147479431"/>
        </pc:sldMkLst>
        <pc:spChg chg="mod">
          <ac:chgData name="Zoran VUJASINOVIC (ACER)" userId="688f2554-a1bf-42ce-8bbb-1c4d4ff2b53c" providerId="ADAL" clId="{D9D1F8CA-E137-41FB-B12A-68E2884397BD}" dt="2026-02-05T14:10:22.669" v="9919" actId="27636"/>
          <ac:spMkLst>
            <pc:docMk/>
            <pc:sldMk cId="1777677728" sldId="2147479431"/>
            <ac:spMk id="3" creationId="{661A79ED-1780-687A-3346-12BC77A93796}"/>
          </ac:spMkLst>
        </pc:spChg>
        <pc:spChg chg="add mod">
          <ac:chgData name="Zoran VUJASINOVIC (ACER)" userId="688f2554-a1bf-42ce-8bbb-1c4d4ff2b53c" providerId="ADAL" clId="{D9D1F8CA-E137-41FB-B12A-68E2884397BD}" dt="2026-02-03T12:49:30.550" v="8148" actId="6549"/>
          <ac:spMkLst>
            <pc:docMk/>
            <pc:sldMk cId="1777677728" sldId="2147479431"/>
            <ac:spMk id="6" creationId="{5F5363AB-FA38-426D-7682-FBA54C35E5AE}"/>
          </ac:spMkLst>
        </pc:spChg>
      </pc:sldChg>
      <pc:sldChg chg="addSp delSp modSp add del mod">
        <pc:chgData name="Zoran VUJASINOVIC (ACER)" userId="688f2554-a1bf-42ce-8bbb-1c4d4ff2b53c" providerId="ADAL" clId="{D9D1F8CA-E137-41FB-B12A-68E2884397BD}" dt="2026-02-05T14:11:21.683" v="9922" actId="2696"/>
        <pc:sldMkLst>
          <pc:docMk/>
          <pc:sldMk cId="123954928" sldId="2147479433"/>
        </pc:sldMkLst>
      </pc:sldChg>
      <pc:sldChg chg="add">
        <pc:chgData name="Zoran VUJASINOVIC (ACER)" userId="688f2554-a1bf-42ce-8bbb-1c4d4ff2b53c" providerId="ADAL" clId="{D9D1F8CA-E137-41FB-B12A-68E2884397BD}" dt="2026-02-05T14:11:28.770" v="9923"/>
        <pc:sldMkLst>
          <pc:docMk/>
          <pc:sldMk cId="2526053905" sldId="2147479433"/>
        </pc:sldMkLst>
      </pc:sldChg>
      <pc:sldChg chg="addSp delSp modSp mod">
        <pc:chgData name="Zoran VUJASINOVIC (ACER)" userId="688f2554-a1bf-42ce-8bbb-1c4d4ff2b53c" providerId="ADAL" clId="{D9D1F8CA-E137-41FB-B12A-68E2884397BD}" dt="2026-02-05T13:40:53.411" v="8961" actId="20577"/>
        <pc:sldMkLst>
          <pc:docMk/>
          <pc:sldMk cId="3313016620" sldId="2147479434"/>
        </pc:sldMkLst>
        <pc:spChg chg="mod">
          <ac:chgData name="Zoran VUJASINOVIC (ACER)" userId="688f2554-a1bf-42ce-8bbb-1c4d4ff2b53c" providerId="ADAL" clId="{D9D1F8CA-E137-41FB-B12A-68E2884397BD}" dt="2026-02-05T13:40:53.411" v="8961" actId="20577"/>
          <ac:spMkLst>
            <pc:docMk/>
            <pc:sldMk cId="3313016620" sldId="2147479434"/>
            <ac:spMk id="5" creationId="{F1F3E8DB-006E-75AB-3311-2C39D9F1196F}"/>
          </ac:spMkLst>
        </pc:spChg>
        <pc:spChg chg="add mod">
          <ac:chgData name="Zoran VUJASINOVIC (ACER)" userId="688f2554-a1bf-42ce-8bbb-1c4d4ff2b53c" providerId="ADAL" clId="{D9D1F8CA-E137-41FB-B12A-68E2884397BD}" dt="2026-02-03T12:51:39.043" v="8275" actId="20577"/>
          <ac:spMkLst>
            <pc:docMk/>
            <pc:sldMk cId="3313016620" sldId="2147479434"/>
            <ac:spMk id="7" creationId="{48F5E12E-DEA7-FEB6-E843-7F70FA78838E}"/>
          </ac:spMkLst>
        </pc:spChg>
      </pc:sldChg>
      <pc:sldChg chg="addSp delSp modSp mod">
        <pc:chgData name="Zoran VUJASINOVIC (ACER)" userId="688f2554-a1bf-42ce-8bbb-1c4d4ff2b53c" providerId="ADAL" clId="{D9D1F8CA-E137-41FB-B12A-68E2884397BD}" dt="2026-02-05T14:04:41.299" v="9794" actId="20577"/>
        <pc:sldMkLst>
          <pc:docMk/>
          <pc:sldMk cId="2457036201" sldId="2147479439"/>
        </pc:sldMkLst>
        <pc:spChg chg="add mod">
          <ac:chgData name="Zoran VUJASINOVIC (ACER)" userId="688f2554-a1bf-42ce-8bbb-1c4d4ff2b53c" providerId="ADAL" clId="{D9D1F8CA-E137-41FB-B12A-68E2884397BD}" dt="2026-02-05T14:04:41.299" v="9794" actId="20577"/>
          <ac:spMkLst>
            <pc:docMk/>
            <pc:sldMk cId="2457036201" sldId="2147479439"/>
            <ac:spMk id="5" creationId="{734128FF-1F6E-210A-9FB2-27B99F716D14}"/>
          </ac:spMkLst>
        </pc:spChg>
        <pc:spChg chg="add mod">
          <ac:chgData name="Zoran VUJASINOVIC (ACER)" userId="688f2554-a1bf-42ce-8bbb-1c4d4ff2b53c" providerId="ADAL" clId="{D9D1F8CA-E137-41FB-B12A-68E2884397BD}" dt="2026-02-03T12:52:20.819" v="8320" actId="20577"/>
          <ac:spMkLst>
            <pc:docMk/>
            <pc:sldMk cId="2457036201" sldId="2147479439"/>
            <ac:spMk id="7" creationId="{00DF95BA-AB15-815C-7776-2DF885332F13}"/>
          </ac:spMkLst>
        </pc:spChg>
      </pc:sldChg>
      <pc:sldChg chg="addSp delSp modSp mod">
        <pc:chgData name="Zoran VUJASINOVIC (ACER)" userId="688f2554-a1bf-42ce-8bbb-1c4d4ff2b53c" providerId="ADAL" clId="{D9D1F8CA-E137-41FB-B12A-68E2884397BD}" dt="2026-02-03T12:45:22.814" v="7975" actId="20577"/>
        <pc:sldMkLst>
          <pc:docMk/>
          <pc:sldMk cId="2908335074" sldId="2147479445"/>
        </pc:sldMkLst>
        <pc:spChg chg="add mod">
          <ac:chgData name="Zoran VUJASINOVIC (ACER)" userId="688f2554-a1bf-42ce-8bbb-1c4d4ff2b53c" providerId="ADAL" clId="{D9D1F8CA-E137-41FB-B12A-68E2884397BD}" dt="2026-02-03T12:45:22.814" v="7975" actId="20577"/>
          <ac:spMkLst>
            <pc:docMk/>
            <pc:sldMk cId="2908335074" sldId="2147479445"/>
            <ac:spMk id="7" creationId="{A9217F65-225A-3D30-EA66-48DEFC49D1D5}"/>
          </ac:spMkLst>
        </pc:spChg>
        <pc:spChg chg="mod">
          <ac:chgData name="Zoran VUJASINOVIC (ACER)" userId="688f2554-a1bf-42ce-8bbb-1c4d4ff2b53c" providerId="ADAL" clId="{D9D1F8CA-E137-41FB-B12A-68E2884397BD}" dt="2026-02-03T12:34:29.427" v="7633" actId="20577"/>
          <ac:spMkLst>
            <pc:docMk/>
            <pc:sldMk cId="2908335074" sldId="2147479445"/>
            <ac:spMk id="10" creationId="{06187594-F625-A988-8590-570ECE3F25AE}"/>
          </ac:spMkLst>
        </pc:spChg>
      </pc:sldChg>
      <pc:sldChg chg="addSp delSp modSp mod">
        <pc:chgData name="Zoran VUJASINOVIC (ACER)" userId="688f2554-a1bf-42ce-8bbb-1c4d4ff2b53c" providerId="ADAL" clId="{D9D1F8CA-E137-41FB-B12A-68E2884397BD}" dt="2026-02-03T12:55:11.817" v="8529" actId="20577"/>
        <pc:sldMkLst>
          <pc:docMk/>
          <pc:sldMk cId="3889354698" sldId="2147479453"/>
        </pc:sldMkLst>
        <pc:spChg chg="add mod">
          <ac:chgData name="Zoran VUJASINOVIC (ACER)" userId="688f2554-a1bf-42ce-8bbb-1c4d4ff2b53c" providerId="ADAL" clId="{D9D1F8CA-E137-41FB-B12A-68E2884397BD}" dt="2026-02-03T12:55:11.817" v="8529" actId="20577"/>
          <ac:spMkLst>
            <pc:docMk/>
            <pc:sldMk cId="3889354698" sldId="2147479453"/>
            <ac:spMk id="7" creationId="{6569CC9A-7253-EA99-0F72-3239F3CC2A82}"/>
          </ac:spMkLst>
        </pc:spChg>
      </pc:sldChg>
      <pc:sldChg chg="addSp delSp modSp add mod">
        <pc:chgData name="Zoran VUJASINOVIC (ACER)" userId="688f2554-a1bf-42ce-8bbb-1c4d4ff2b53c" providerId="ADAL" clId="{D9D1F8CA-E137-41FB-B12A-68E2884397BD}" dt="2026-02-05T14:11:14.146" v="9921" actId="22"/>
        <pc:sldMkLst>
          <pc:docMk/>
          <pc:sldMk cId="914411814" sldId="2147479454"/>
        </pc:sldMkLst>
        <pc:spChg chg="add del">
          <ac:chgData name="Zoran VUJASINOVIC (ACER)" userId="688f2554-a1bf-42ce-8bbb-1c4d4ff2b53c" providerId="ADAL" clId="{D9D1F8CA-E137-41FB-B12A-68E2884397BD}" dt="2026-02-05T14:11:14.146" v="9921" actId="22"/>
          <ac:spMkLst>
            <pc:docMk/>
            <pc:sldMk cId="914411814" sldId="2147479454"/>
            <ac:spMk id="3" creationId="{2B50D07D-B61E-4753-6D59-8304744954E5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16" creationId="{6BC28E5B-15AC-D2DA-EBB4-B12ED6DE9FFF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17" creationId="{0CA456E7-ED10-3A46-D2AA-3D7E5ECC4695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48" creationId="{91A92822-779E-D642-9CEC-74AB37EED8FB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52" creationId="{57DB0AE8-A650-EB2E-5248-828296740C9D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54" creationId="{3E4AED01-C4DD-D065-9563-08A6284785A1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57" creationId="{28991783-8DCF-4C54-DAD4-3C175B376E9B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63" creationId="{621C480B-3EE8-6D3E-35EA-0074E1139594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64" creationId="{263EC0E8-C890-7A39-E833-FAD4C788C168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74" creationId="{F2C33642-4791-4455-182A-E8BA11DBFA52}"/>
          </ac:spMkLst>
        </pc:spChg>
        <pc:spChg chg="mod">
          <ac:chgData name="Zoran VUJASINOVIC (ACER)" userId="688f2554-a1bf-42ce-8bbb-1c4d4ff2b53c" providerId="ADAL" clId="{D9D1F8CA-E137-41FB-B12A-68E2884397BD}" dt="2026-02-02T15:56:58.653" v="7030"/>
          <ac:spMkLst>
            <pc:docMk/>
            <pc:sldMk cId="914411814" sldId="2147479454"/>
            <ac:spMk id="87" creationId="{D7F150AC-4A33-5037-E549-5FCAC616EFB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A75FB0-2F8D-49F2-95A4-E92A64011C7F}" type="doc">
      <dgm:prSet loTypeId="urn:microsoft.com/office/officeart/2005/8/layout/chevron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80487FD-906A-49A4-B21A-3F3651F582F4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US" sz="1100">
            <a:latin typeface="+mj-lt"/>
          </a:endParaRPr>
        </a:p>
      </dgm:t>
    </dgm:pt>
    <dgm:pt modelId="{5B4E945E-ED34-4942-A038-8BD32E2158A3}" type="parTrans" cxnId="{4F59498F-87A8-4C5F-9436-518D46BBD9E5}">
      <dgm:prSet/>
      <dgm:spPr/>
      <dgm:t>
        <a:bodyPr/>
        <a:lstStyle/>
        <a:p>
          <a:endParaRPr lang="en-US" sz="1100">
            <a:latin typeface="+mj-lt"/>
          </a:endParaRPr>
        </a:p>
      </dgm:t>
    </dgm:pt>
    <dgm:pt modelId="{8989546D-0B76-4877-A18A-7D98BB00F50C}" type="sibTrans" cxnId="{4F59498F-87A8-4C5F-9436-518D46BBD9E5}">
      <dgm:prSet/>
      <dgm:spPr/>
      <dgm:t>
        <a:bodyPr/>
        <a:lstStyle/>
        <a:p>
          <a:endParaRPr lang="en-US" sz="1100">
            <a:latin typeface="+mj-lt"/>
          </a:endParaRPr>
        </a:p>
      </dgm:t>
    </dgm:pt>
    <dgm:pt modelId="{583F5D24-DC97-4CF1-9086-D83D2FD1DB6F}">
      <dgm:prSet phldrT="[Text]" custT="1"/>
      <dgm:spPr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004FEE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rgbClr val="FFFFFF">
                  <a:lumMod val="65000"/>
                </a:srgbClr>
              </a:solidFill>
              <a:latin typeface="Arial" panose="020B0604020202020204"/>
              <a:ea typeface="+mn-ea"/>
              <a:cs typeface="+mn-cs"/>
            </a:rPr>
            <a:t>09/12/2025 – CACM TF first discussion</a:t>
          </a:r>
          <a:endParaRPr lang="en-US" sz="1100" b="0" kern="1200">
            <a:solidFill>
              <a:srgbClr val="FFFFFF">
                <a:lumMod val="65000"/>
              </a:srgbClr>
            </a:solidFill>
            <a:latin typeface="Arial" panose="020B0604020202020204"/>
            <a:ea typeface="+mn-ea"/>
            <a:cs typeface="+mn-cs"/>
          </a:endParaRPr>
        </a:p>
      </dgm:t>
    </dgm:pt>
    <dgm:pt modelId="{6674B820-193A-49FF-AFDA-F73EDB99E67C}" type="parTrans" cxnId="{A2139E04-08D6-44A9-9184-9B7EF9E52556}">
      <dgm:prSet/>
      <dgm:spPr/>
      <dgm:t>
        <a:bodyPr/>
        <a:lstStyle/>
        <a:p>
          <a:endParaRPr lang="en-US" sz="1100">
            <a:latin typeface="+mj-lt"/>
          </a:endParaRPr>
        </a:p>
      </dgm:t>
    </dgm:pt>
    <dgm:pt modelId="{7D00E6AB-3521-494A-8684-8E1E28AEB152}" type="sibTrans" cxnId="{A2139E04-08D6-44A9-9184-9B7EF9E52556}">
      <dgm:prSet/>
      <dgm:spPr/>
      <dgm:t>
        <a:bodyPr/>
        <a:lstStyle/>
        <a:p>
          <a:endParaRPr lang="en-US" sz="1100">
            <a:latin typeface="+mj-lt"/>
          </a:endParaRPr>
        </a:p>
      </dgm:t>
    </dgm:pt>
    <dgm:pt modelId="{26A1A58F-A37E-4FCD-AC55-6C893DA3C075}">
      <dgm:prSet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US" sz="1100">
            <a:latin typeface="+mj-lt"/>
          </a:endParaRPr>
        </a:p>
      </dgm:t>
    </dgm:pt>
    <dgm:pt modelId="{A82E568A-6259-42E7-87CE-CA042AAF74F8}" type="parTrans" cxnId="{47778D77-D49A-4CAA-A39E-88EDA6557327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00394F04-C12F-4CAC-B27F-C49B6C38682C}" type="sibTrans" cxnId="{47778D77-D49A-4CAA-A39E-88EDA6557327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39476042-511C-4EBB-A66B-94205F59F3B4}">
      <dgm:prSet custT="1"/>
      <dgm:spPr/>
      <dgm:t>
        <a:bodyPr/>
        <a:lstStyle/>
        <a:p>
          <a:pPr>
            <a:buFontTx/>
            <a:buNone/>
          </a:pPr>
          <a:r>
            <a:rPr lang="en-GB" sz="1100" b="1"/>
            <a:t>11/02/2026 </a:t>
          </a:r>
          <a:r>
            <a:rPr lang="en-GB" sz="1100" b="0"/>
            <a:t>– AEWG discussion</a:t>
          </a:r>
          <a:endParaRPr lang="en-US" sz="1100" b="0">
            <a:latin typeface="+mj-lt"/>
          </a:endParaRPr>
        </a:p>
      </dgm:t>
    </dgm:pt>
    <dgm:pt modelId="{F473D4A4-57ED-45A0-A640-111B98C2BA0A}" type="parTrans" cxnId="{AD828CE5-17E3-4323-BD9F-DFBFB40A3B47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B9EAF662-0446-451F-A970-DF71C4CB0FA9}" type="sibTrans" cxnId="{AD828CE5-17E3-4323-BD9F-DFBFB40A3B47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CB4F8A02-CBCC-49FC-9FC0-9AC947983EC9}">
      <dgm:prSet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US" sz="1100">
            <a:latin typeface="+mj-lt"/>
          </a:endParaRPr>
        </a:p>
      </dgm:t>
    </dgm:pt>
    <dgm:pt modelId="{B131A1E4-CCE1-426A-9A3D-008C5F06DA8F}" type="parTrans" cxnId="{0A75804E-6144-48E5-A90C-9884B0064187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C0F5B8A8-A82C-4C7D-A78A-AF7622D6F075}" type="sibTrans" cxnId="{0A75804E-6144-48E5-A90C-9884B0064187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6DA41288-E2D2-40EB-B09C-9250317BE05D}">
      <dgm:prSet custT="1"/>
      <dgm:spPr/>
      <dgm:t>
        <a:bodyPr/>
        <a:lstStyle/>
        <a:p>
          <a:pPr>
            <a:buFontTx/>
            <a:buNone/>
          </a:pPr>
          <a:r>
            <a:rPr lang="en-GB" sz="1100" b="1"/>
            <a:t>25-26/02/2026 </a:t>
          </a:r>
          <a:r>
            <a:rPr lang="en-GB" sz="1100" b="0"/>
            <a:t>– Workshop with NRAs on draft assessment</a:t>
          </a:r>
          <a:endParaRPr lang="en-GB" sz="1100" b="0">
            <a:latin typeface="+mj-lt"/>
          </a:endParaRPr>
        </a:p>
      </dgm:t>
    </dgm:pt>
    <dgm:pt modelId="{42B26114-D003-4BB7-A28A-7ED28B1D50EA}" type="parTrans" cxnId="{C3FA49EE-C4F3-4740-9404-6565327EDD6B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F4A0A174-6563-4E9E-97AE-2F4C52F1D1A8}" type="sibTrans" cxnId="{C3FA49EE-C4F3-4740-9404-6565327EDD6B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639D2C6B-2132-4F6A-B72B-F852DBD65815}">
      <dgm:prSet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buNone/>
          </a:pPr>
          <a:endParaRPr lang="en-US" sz="1100">
            <a:latin typeface="+mj-lt"/>
          </a:endParaRPr>
        </a:p>
      </dgm:t>
    </dgm:pt>
    <dgm:pt modelId="{65291E88-B2BD-4030-ABA2-AC7A9F29A94E}" type="parTrans" cxnId="{7CAD57F0-366A-4D91-BEB4-4B405DF9C8AB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E9050BF8-CE57-48A8-805B-8C88D9C2E9A4}" type="sibTrans" cxnId="{7CAD57F0-366A-4D91-BEB4-4B405DF9C8AB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27CFE80F-FC7C-491A-AC67-21AC3FDEB9F5}">
      <dgm:prSet custT="1"/>
      <dgm:spPr/>
      <dgm:t>
        <a:bodyPr/>
        <a:lstStyle/>
        <a:p>
          <a:pPr>
            <a:buNone/>
          </a:pPr>
          <a:r>
            <a:rPr lang="en-GB" sz="1100" b="1">
              <a:solidFill>
                <a:schemeClr val="tx2"/>
              </a:solidFill>
            </a:rPr>
            <a:t>9 March 2026 – EU TF presentation; preliminary assessment</a:t>
          </a:r>
          <a:endParaRPr lang="en-GB" sz="1100" b="1">
            <a:solidFill>
              <a:schemeClr val="tx2"/>
            </a:solidFill>
            <a:latin typeface="+mj-lt"/>
          </a:endParaRPr>
        </a:p>
      </dgm:t>
    </dgm:pt>
    <dgm:pt modelId="{A0C7C37D-841F-4C96-8011-FF1EDB7004ED}" type="parTrans" cxnId="{37074410-FEF8-4C1E-8B97-0D0DEB3AB991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6494CAEB-658F-4E9E-B701-4E3538176AA6}" type="sibTrans" cxnId="{37074410-FEF8-4C1E-8B97-0D0DEB3AB991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3E1E6F9E-4E4C-4A9F-9E7B-66B7C3449CBF}">
      <dgm:prSet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US" sz="1100">
            <a:latin typeface="+mj-lt"/>
          </a:endParaRPr>
        </a:p>
      </dgm:t>
    </dgm:pt>
    <dgm:pt modelId="{0409A792-EC39-4B9A-AD07-E8DC8DF7C96C}" type="parTrans" cxnId="{22D4FEBC-FD32-4846-A814-134E8C86D9BE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65098178-A474-4E08-AC35-A5A9D8971233}" type="sibTrans" cxnId="{22D4FEBC-FD32-4846-A814-134E8C86D9BE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8C057EFF-7B87-487E-B2F5-4754F3F3AE83}">
      <dgm:prSet custT="1"/>
      <dgm:spPr/>
      <dgm:t>
        <a:bodyPr/>
        <a:lstStyle/>
        <a:p>
          <a:pPr>
            <a:buFontTx/>
            <a:buNone/>
          </a:pPr>
          <a:r>
            <a:rPr lang="en-GB" sz="1100" b="1"/>
            <a:t>10/02/2026 – MESC discussion</a:t>
          </a:r>
          <a:endParaRPr lang="en-GB" sz="1100" b="1">
            <a:latin typeface="+mj-lt"/>
          </a:endParaRPr>
        </a:p>
      </dgm:t>
    </dgm:pt>
    <dgm:pt modelId="{40674673-A59B-4AA7-9540-BD077A4291DA}" type="parTrans" cxnId="{6D35D4E3-1D15-4B8A-8F1D-F67C16F6B003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B73C8C0F-EDAD-4156-8357-1F63A584C079}" type="sibTrans" cxnId="{6D35D4E3-1D15-4B8A-8F1D-F67C16F6B003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56C16E20-72E3-4E79-AB47-2FDF1C2CD463}">
      <dgm:prSet custT="1"/>
      <dgm:spPr/>
      <dgm:t>
        <a:bodyPr/>
        <a:lstStyle/>
        <a:p>
          <a:endParaRPr lang="en-GB" sz="1100">
            <a:latin typeface="+mj-lt"/>
          </a:endParaRPr>
        </a:p>
      </dgm:t>
    </dgm:pt>
    <dgm:pt modelId="{B11F10F0-2137-472F-9762-A18FE306216D}" type="parTrans" cxnId="{A3731940-AFB8-44E6-BF86-18E236636250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030C1CC7-5508-4B23-93C3-F279F1665E5F}" type="sibTrans" cxnId="{A3731940-AFB8-44E6-BF86-18E236636250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BEEA083D-8F13-46BF-ACCA-352ECF2A47DA}">
      <dgm:prSet custT="1"/>
      <dgm:spPr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004FEE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99568" tIns="8890" rIns="8890" bIns="8890" numCol="1" spcCol="1270" anchor="ctr" anchorCtr="0"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rgbClr val="FFFFFF">
                  <a:lumMod val="65000"/>
                </a:srgbClr>
              </a:solidFill>
              <a:latin typeface="Arial" panose="020B0604020202020204"/>
              <a:ea typeface="+mn-ea"/>
              <a:cs typeface="+mn-cs"/>
            </a:rPr>
            <a:t>03/12/2025 – MESC introduction to mandate</a:t>
          </a:r>
        </a:p>
      </dgm:t>
    </dgm:pt>
    <dgm:pt modelId="{FE9C8E72-19AE-417F-9D86-CC60793FBD2C}" type="parTrans" cxnId="{6799EE8A-2A75-4417-8087-2F131C774B80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FA77D9BC-BC8E-490F-9225-C51E17579D84}" type="sibTrans" cxnId="{6799EE8A-2A75-4417-8087-2F131C774B80}">
      <dgm:prSet/>
      <dgm:spPr/>
      <dgm:t>
        <a:bodyPr/>
        <a:lstStyle/>
        <a:p>
          <a:endParaRPr lang="en-GB" sz="1100">
            <a:latin typeface="+mj-lt"/>
          </a:endParaRPr>
        </a:p>
      </dgm:t>
    </dgm:pt>
    <dgm:pt modelId="{CB941892-EAC2-454F-9D60-FBC4D927598C}">
      <dgm:prSet custT="1"/>
      <dgm:spPr/>
      <dgm:t>
        <a:bodyPr/>
        <a:lstStyle/>
        <a:p>
          <a:endParaRPr lang="en-GB" sz="700"/>
        </a:p>
      </dgm:t>
    </dgm:pt>
    <dgm:pt modelId="{A873BB9D-76CC-497A-9C2A-36EF446D6985}" type="parTrans" cxnId="{F689084E-674E-472B-BA3B-340476F34701}">
      <dgm:prSet/>
      <dgm:spPr/>
      <dgm:t>
        <a:bodyPr/>
        <a:lstStyle/>
        <a:p>
          <a:endParaRPr lang="en-GB" sz="1400"/>
        </a:p>
      </dgm:t>
    </dgm:pt>
    <dgm:pt modelId="{A6B935F0-26AE-4321-B096-57195ACFF1A5}" type="sibTrans" cxnId="{F689084E-674E-472B-BA3B-340476F34701}">
      <dgm:prSet/>
      <dgm:spPr/>
      <dgm:t>
        <a:bodyPr/>
        <a:lstStyle/>
        <a:p>
          <a:endParaRPr lang="en-GB" sz="1400"/>
        </a:p>
      </dgm:t>
    </dgm:pt>
    <dgm:pt modelId="{0BEE1753-C0B4-4440-8A6F-243982D26034}">
      <dgm:prSet custT="1"/>
      <dgm:spPr/>
      <dgm:t>
        <a:bodyPr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chemeClr val="bg1">
                  <a:lumMod val="65000"/>
                </a:schemeClr>
              </a:solidFill>
              <a:latin typeface="Arial" panose="020B0604020202020204"/>
              <a:ea typeface="+mn-ea"/>
              <a:cs typeface="+mn-cs"/>
            </a:rPr>
            <a:t>19/11/2025 – AEWG introduction to mandate</a:t>
          </a:r>
        </a:p>
      </dgm:t>
    </dgm:pt>
    <dgm:pt modelId="{DBE2715A-CA88-4976-9621-30B6AF9B25A4}" type="parTrans" cxnId="{B38BD24D-E5B7-412D-A363-AD78111EF708}">
      <dgm:prSet/>
      <dgm:spPr/>
      <dgm:t>
        <a:bodyPr/>
        <a:lstStyle/>
        <a:p>
          <a:endParaRPr lang="en-GB" sz="1400"/>
        </a:p>
      </dgm:t>
    </dgm:pt>
    <dgm:pt modelId="{AB95157A-44C1-41BA-ABCA-E73448DB2892}" type="sibTrans" cxnId="{B38BD24D-E5B7-412D-A363-AD78111EF708}">
      <dgm:prSet/>
      <dgm:spPr/>
      <dgm:t>
        <a:bodyPr/>
        <a:lstStyle/>
        <a:p>
          <a:endParaRPr lang="en-GB" sz="1400"/>
        </a:p>
      </dgm:t>
    </dgm:pt>
    <dgm:pt modelId="{B1D4F67C-A33F-427F-9AC1-3E12186FEEE7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US" sz="700">
            <a:latin typeface="+mj-lt"/>
          </a:endParaRPr>
        </a:p>
      </dgm:t>
    </dgm:pt>
    <dgm:pt modelId="{840D4994-7733-4C01-9204-408BFD31F1A4}" type="parTrans" cxnId="{F562DD99-62D0-44B4-BB46-D65A0C37C222}">
      <dgm:prSet/>
      <dgm:spPr/>
      <dgm:t>
        <a:bodyPr/>
        <a:lstStyle/>
        <a:p>
          <a:endParaRPr lang="en-GB" sz="1400"/>
        </a:p>
      </dgm:t>
    </dgm:pt>
    <dgm:pt modelId="{9E7E4D57-3092-481B-B4C9-D034FC2859A7}" type="sibTrans" cxnId="{F562DD99-62D0-44B4-BB46-D65A0C37C222}">
      <dgm:prSet/>
      <dgm:spPr/>
      <dgm:t>
        <a:bodyPr/>
        <a:lstStyle/>
        <a:p>
          <a:endParaRPr lang="en-GB" sz="1400"/>
        </a:p>
      </dgm:t>
    </dgm:pt>
    <dgm:pt modelId="{24E447BD-C253-49CA-8465-09A0704273BB}">
      <dgm:prSet phldrT="[Text]" custT="1"/>
      <dgm:spPr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004FEE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chemeClr val="bg1">
                  <a:lumMod val="75000"/>
                </a:schemeClr>
              </a:solidFill>
              <a:latin typeface="Arial" panose="020B0604020202020204"/>
              <a:ea typeface="+mn-ea"/>
              <a:cs typeface="+mn-cs"/>
            </a:rPr>
            <a:t>12/01/2026 – AEWG update</a:t>
          </a:r>
          <a:endParaRPr lang="en-US" sz="1100" b="0" kern="1200">
            <a:solidFill>
              <a:schemeClr val="bg1">
                <a:lumMod val="75000"/>
              </a:schemeClr>
            </a:solidFill>
            <a:latin typeface="Arial" panose="020B0604020202020204"/>
            <a:ea typeface="+mn-ea"/>
            <a:cs typeface="+mn-cs"/>
          </a:endParaRPr>
        </a:p>
      </dgm:t>
    </dgm:pt>
    <dgm:pt modelId="{817AC17B-1688-4752-9B2A-006E0F857DE9}" type="parTrans" cxnId="{74D2E30B-53A8-4937-9967-385D1A1FB4B6}">
      <dgm:prSet/>
      <dgm:spPr/>
      <dgm:t>
        <a:bodyPr/>
        <a:lstStyle/>
        <a:p>
          <a:endParaRPr lang="en-GB" sz="1400"/>
        </a:p>
      </dgm:t>
    </dgm:pt>
    <dgm:pt modelId="{24A96BE7-4A69-4DB4-B40F-C12EA623C3AD}" type="sibTrans" cxnId="{74D2E30B-53A8-4937-9967-385D1A1FB4B6}">
      <dgm:prSet/>
      <dgm:spPr/>
      <dgm:t>
        <a:bodyPr/>
        <a:lstStyle/>
        <a:p>
          <a:endParaRPr lang="en-GB" sz="1400"/>
        </a:p>
      </dgm:t>
    </dgm:pt>
    <dgm:pt modelId="{382ABD5F-5643-4BCD-BCDC-CAE7ACE34B3E}">
      <dgm:prSet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buNone/>
          </a:pPr>
          <a:endParaRPr lang="en-US" sz="700">
            <a:latin typeface="+mj-lt"/>
          </a:endParaRPr>
        </a:p>
      </dgm:t>
    </dgm:pt>
    <dgm:pt modelId="{779FDCF4-7DE6-45AB-B610-5EAD197C2ABC}" type="parTrans" cxnId="{0E9AAE6D-2146-4892-92AC-2345BB1F27A3}">
      <dgm:prSet/>
      <dgm:spPr/>
      <dgm:t>
        <a:bodyPr/>
        <a:lstStyle/>
        <a:p>
          <a:endParaRPr lang="en-GB" sz="1400"/>
        </a:p>
      </dgm:t>
    </dgm:pt>
    <dgm:pt modelId="{F036E626-6A4E-4953-B0BE-752D2FE962CC}" type="sibTrans" cxnId="{0E9AAE6D-2146-4892-92AC-2345BB1F27A3}">
      <dgm:prSet/>
      <dgm:spPr/>
      <dgm:t>
        <a:bodyPr/>
        <a:lstStyle/>
        <a:p>
          <a:endParaRPr lang="en-GB" sz="1400"/>
        </a:p>
      </dgm:t>
    </dgm:pt>
    <dgm:pt modelId="{BA2928B4-FCD8-464B-8667-4CBDD08DC099}">
      <dgm:prSet custT="1"/>
      <dgm:spPr/>
      <dgm:t>
        <a:bodyPr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11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End-April 2026 </a:t>
          </a:r>
          <a:r>
            <a:rPr lang="en-GB" sz="1100" b="0" kern="120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– </a:t>
          </a:r>
          <a:r>
            <a:rPr lang="en-GB" sz="1100" b="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Delivery of final assessment</a:t>
          </a:r>
        </a:p>
      </dgm:t>
    </dgm:pt>
    <dgm:pt modelId="{D60C4C3A-74D5-42A5-8A89-40B534C871FA}" type="parTrans" cxnId="{27E6A377-AA5E-45BA-8993-F6550D0359A9}">
      <dgm:prSet/>
      <dgm:spPr/>
      <dgm:t>
        <a:bodyPr/>
        <a:lstStyle/>
        <a:p>
          <a:endParaRPr lang="en-GB" sz="1400"/>
        </a:p>
      </dgm:t>
    </dgm:pt>
    <dgm:pt modelId="{09032C09-C0F6-47D3-B973-2702B160CF4E}" type="sibTrans" cxnId="{27E6A377-AA5E-45BA-8993-F6550D0359A9}">
      <dgm:prSet/>
      <dgm:spPr/>
      <dgm:t>
        <a:bodyPr/>
        <a:lstStyle/>
        <a:p>
          <a:endParaRPr lang="en-GB" sz="1400"/>
        </a:p>
      </dgm:t>
    </dgm:pt>
    <dgm:pt modelId="{63E4B3E4-F1C1-49C7-9AD5-6450932B538D}">
      <dgm:prSet custT="1"/>
      <dgm:spPr/>
      <dgm:t>
        <a:bodyPr/>
        <a:lstStyle/>
        <a:p>
          <a:endParaRPr lang="en-GB" sz="700"/>
        </a:p>
      </dgm:t>
    </dgm:pt>
    <dgm:pt modelId="{24ADF120-1857-47A2-B27E-F3911C18B301}" type="parTrans" cxnId="{40AC2D04-5D6B-4BA2-A0D2-B787C8D61732}">
      <dgm:prSet/>
      <dgm:spPr/>
      <dgm:t>
        <a:bodyPr/>
        <a:lstStyle/>
        <a:p>
          <a:endParaRPr lang="en-GB" sz="1400"/>
        </a:p>
      </dgm:t>
    </dgm:pt>
    <dgm:pt modelId="{3FFCFD22-28C3-4125-B810-B623721A476C}" type="sibTrans" cxnId="{40AC2D04-5D6B-4BA2-A0D2-B787C8D61732}">
      <dgm:prSet/>
      <dgm:spPr/>
      <dgm:t>
        <a:bodyPr/>
        <a:lstStyle/>
        <a:p>
          <a:endParaRPr lang="en-GB" sz="1400"/>
        </a:p>
      </dgm:t>
    </dgm:pt>
    <dgm:pt modelId="{10764F17-E69F-4763-A48B-149946AB55B1}">
      <dgm:prSet custT="1"/>
      <dgm:spPr/>
      <dgm:t>
        <a:bodyPr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rgbClr val="FFFFFF">
                  <a:lumMod val="75000"/>
                </a:srgbClr>
              </a:solidFill>
              <a:latin typeface="Arial" panose="020B0604020202020204"/>
              <a:ea typeface="+mn-ea"/>
              <a:cs typeface="+mn-cs"/>
            </a:rPr>
            <a:t>27/01/2026 – CACM TF discussion</a:t>
          </a:r>
        </a:p>
      </dgm:t>
    </dgm:pt>
    <dgm:pt modelId="{88D0572C-A7BD-4B8F-95C0-EF546514B6C9}" type="parTrans" cxnId="{8A7DDA72-DC72-4A2C-81EE-ABA7018798ED}">
      <dgm:prSet/>
      <dgm:spPr/>
      <dgm:t>
        <a:bodyPr/>
        <a:lstStyle/>
        <a:p>
          <a:endParaRPr lang="en-GB" sz="1400"/>
        </a:p>
      </dgm:t>
    </dgm:pt>
    <dgm:pt modelId="{BA3271D2-4F82-44B9-92F6-CFD4CF8AE21D}" type="sibTrans" cxnId="{8A7DDA72-DC72-4A2C-81EE-ABA7018798ED}">
      <dgm:prSet/>
      <dgm:spPr/>
      <dgm:t>
        <a:bodyPr/>
        <a:lstStyle/>
        <a:p>
          <a:endParaRPr lang="en-GB" sz="1400"/>
        </a:p>
      </dgm:t>
    </dgm:pt>
    <dgm:pt modelId="{97C50967-6EA4-4705-B121-E24BB342B022}" type="pres">
      <dgm:prSet presAssocID="{3EA75FB0-2F8D-49F2-95A4-E92A64011C7F}" presName="linearFlow" presStyleCnt="0">
        <dgm:presLayoutVars>
          <dgm:dir/>
          <dgm:animLvl val="lvl"/>
          <dgm:resizeHandles val="exact"/>
        </dgm:presLayoutVars>
      </dgm:prSet>
      <dgm:spPr/>
    </dgm:pt>
    <dgm:pt modelId="{C3AB4E7B-1AB8-494D-AB83-3B95AB850A2C}" type="pres">
      <dgm:prSet presAssocID="{CB941892-EAC2-454F-9D60-FBC4D927598C}" presName="composite" presStyleCnt="0"/>
      <dgm:spPr/>
    </dgm:pt>
    <dgm:pt modelId="{C3E4D943-1C1E-46B3-82F6-F56A17C68DE8}" type="pres">
      <dgm:prSet presAssocID="{CB941892-EAC2-454F-9D60-FBC4D927598C}" presName="parentText" presStyleLbl="alignNode1" presStyleIdx="0" presStyleCnt="10">
        <dgm:presLayoutVars>
          <dgm:chMax val="1"/>
          <dgm:bulletEnabled val="1"/>
        </dgm:presLayoutVars>
      </dgm:prSet>
      <dgm:spPr/>
    </dgm:pt>
    <dgm:pt modelId="{6B26F9AD-C155-44E9-86D2-4DA55AC402D5}" type="pres">
      <dgm:prSet presAssocID="{CB941892-EAC2-454F-9D60-FBC4D927598C}" presName="descendantText" presStyleLbl="alignAcc1" presStyleIdx="0" presStyleCnt="10">
        <dgm:presLayoutVars>
          <dgm:bulletEnabled val="1"/>
        </dgm:presLayoutVars>
      </dgm:prSet>
      <dgm:spPr/>
    </dgm:pt>
    <dgm:pt modelId="{2320870A-71EC-4C56-9EFC-8B64EB05C850}" type="pres">
      <dgm:prSet presAssocID="{A6B935F0-26AE-4321-B096-57195ACFF1A5}" presName="sp" presStyleCnt="0"/>
      <dgm:spPr/>
    </dgm:pt>
    <dgm:pt modelId="{AC0C4716-6E75-462E-A9CB-B4A4EADB0C0A}" type="pres">
      <dgm:prSet presAssocID="{56C16E20-72E3-4E79-AB47-2FDF1C2CD463}" presName="composite" presStyleCnt="0"/>
      <dgm:spPr/>
    </dgm:pt>
    <dgm:pt modelId="{CC77E567-B527-4235-9927-AF06CB995B73}" type="pres">
      <dgm:prSet presAssocID="{56C16E20-72E3-4E79-AB47-2FDF1C2CD463}" presName="parentText" presStyleLbl="alignNode1" presStyleIdx="1" presStyleCnt="10">
        <dgm:presLayoutVars>
          <dgm:chMax val="1"/>
          <dgm:bulletEnabled val="1"/>
        </dgm:presLayoutVars>
      </dgm:prSet>
      <dgm:spPr/>
    </dgm:pt>
    <dgm:pt modelId="{9B1BF83B-61D7-4048-860A-6E9EDD0A37A8}" type="pres">
      <dgm:prSet presAssocID="{56C16E20-72E3-4E79-AB47-2FDF1C2CD463}" presName="descendantText" presStyleLbl="alignAcc1" presStyleIdx="1" presStyleCnt="10">
        <dgm:presLayoutVars>
          <dgm:bulletEnabled val="1"/>
        </dgm:presLayoutVars>
      </dgm:prSet>
      <dgm:spPr>
        <a:xfrm rot="5400000">
          <a:off x="2348310" y="-1568704"/>
          <a:ext cx="322820" cy="4324134"/>
        </a:xfrm>
        <a:prstGeom prst="round2SameRect">
          <a:avLst/>
        </a:prstGeom>
      </dgm:spPr>
    </dgm:pt>
    <dgm:pt modelId="{E763B5F5-964C-4136-BD3E-427688DB5A59}" type="pres">
      <dgm:prSet presAssocID="{030C1CC7-5508-4B23-93C3-F279F1665E5F}" presName="sp" presStyleCnt="0"/>
      <dgm:spPr/>
    </dgm:pt>
    <dgm:pt modelId="{5F38E7C0-F86B-4A29-A84B-8132EFF90A90}" type="pres">
      <dgm:prSet presAssocID="{B80487FD-906A-49A4-B21A-3F3651F582F4}" presName="composite" presStyleCnt="0"/>
      <dgm:spPr/>
    </dgm:pt>
    <dgm:pt modelId="{299A8EE3-04DC-41E2-9836-A31D24E77E0A}" type="pres">
      <dgm:prSet presAssocID="{B80487FD-906A-49A4-B21A-3F3651F582F4}" presName="parentText" presStyleLbl="alignNode1" presStyleIdx="2" presStyleCnt="10">
        <dgm:presLayoutVars>
          <dgm:chMax val="1"/>
          <dgm:bulletEnabled val="1"/>
        </dgm:presLayoutVars>
      </dgm:prSet>
      <dgm:spPr/>
    </dgm:pt>
    <dgm:pt modelId="{7F738EAB-0FFC-4C8A-9879-54A40C4FB365}" type="pres">
      <dgm:prSet presAssocID="{B80487FD-906A-49A4-B21A-3F3651F582F4}" presName="descendantText" presStyleLbl="alignAcc1" presStyleIdx="2" presStyleCnt="10">
        <dgm:presLayoutVars>
          <dgm:bulletEnabled val="1"/>
        </dgm:presLayoutVars>
      </dgm:prSet>
      <dgm:spPr>
        <a:xfrm rot="5400000">
          <a:off x="3305639" y="-2632604"/>
          <a:ext cx="274587" cy="6294446"/>
        </a:xfrm>
        <a:prstGeom prst="round2SameRect">
          <a:avLst/>
        </a:prstGeom>
      </dgm:spPr>
    </dgm:pt>
    <dgm:pt modelId="{CD890E35-76E2-4597-B0D5-40F15230F254}" type="pres">
      <dgm:prSet presAssocID="{8989546D-0B76-4877-A18A-7D98BB00F50C}" presName="sp" presStyleCnt="0"/>
      <dgm:spPr/>
    </dgm:pt>
    <dgm:pt modelId="{BBE8D024-24B3-43C8-91BD-8A14882141DF}" type="pres">
      <dgm:prSet presAssocID="{B1D4F67C-A33F-427F-9AC1-3E12186FEEE7}" presName="composite" presStyleCnt="0"/>
      <dgm:spPr/>
    </dgm:pt>
    <dgm:pt modelId="{5266C9AA-8DB2-4311-AF8F-9B46C169480D}" type="pres">
      <dgm:prSet presAssocID="{B1D4F67C-A33F-427F-9AC1-3E12186FEEE7}" presName="parentText" presStyleLbl="alignNode1" presStyleIdx="3" presStyleCnt="10">
        <dgm:presLayoutVars>
          <dgm:chMax val="1"/>
          <dgm:bulletEnabled val="1"/>
        </dgm:presLayoutVars>
      </dgm:prSet>
      <dgm:spPr/>
    </dgm:pt>
    <dgm:pt modelId="{B83F0B8B-86B3-4B26-918E-105DBC0CCF94}" type="pres">
      <dgm:prSet presAssocID="{B1D4F67C-A33F-427F-9AC1-3E12186FEEE7}" presName="descendantText" presStyleLbl="alignAcc1" presStyleIdx="3" presStyleCnt="10">
        <dgm:presLayoutVars>
          <dgm:bulletEnabled val="1"/>
        </dgm:presLayoutVars>
      </dgm:prSet>
      <dgm:spPr>
        <a:prstGeom prst="round2SameRect">
          <a:avLst/>
        </a:prstGeom>
      </dgm:spPr>
    </dgm:pt>
    <dgm:pt modelId="{6E51EC20-A102-4BFA-BDBF-750283D8F278}" type="pres">
      <dgm:prSet presAssocID="{9E7E4D57-3092-481B-B4C9-D034FC2859A7}" presName="sp" presStyleCnt="0"/>
      <dgm:spPr/>
    </dgm:pt>
    <dgm:pt modelId="{957F124E-06B3-46F9-8921-D372E25B2D14}" type="pres">
      <dgm:prSet presAssocID="{63E4B3E4-F1C1-49C7-9AD5-6450932B538D}" presName="composite" presStyleCnt="0"/>
      <dgm:spPr/>
    </dgm:pt>
    <dgm:pt modelId="{2AC4E3C2-50A3-4CC8-8207-612268446158}" type="pres">
      <dgm:prSet presAssocID="{63E4B3E4-F1C1-49C7-9AD5-6450932B538D}" presName="parentText" presStyleLbl="alignNode1" presStyleIdx="4" presStyleCnt="10">
        <dgm:presLayoutVars>
          <dgm:chMax val="1"/>
          <dgm:bulletEnabled val="1"/>
        </dgm:presLayoutVars>
      </dgm:prSet>
      <dgm:spPr/>
    </dgm:pt>
    <dgm:pt modelId="{8414503D-228A-44E1-876A-33F0CAF3B9B3}" type="pres">
      <dgm:prSet presAssocID="{63E4B3E4-F1C1-49C7-9AD5-6450932B538D}" presName="descendantText" presStyleLbl="alignAcc1" presStyleIdx="4" presStyleCnt="10">
        <dgm:presLayoutVars>
          <dgm:bulletEnabled val="1"/>
        </dgm:presLayoutVars>
      </dgm:prSet>
      <dgm:spPr/>
    </dgm:pt>
    <dgm:pt modelId="{29169EC7-41D5-4AC8-94D5-44CC4C7A50FF}" type="pres">
      <dgm:prSet presAssocID="{3FFCFD22-28C3-4125-B810-B623721A476C}" presName="sp" presStyleCnt="0"/>
      <dgm:spPr/>
    </dgm:pt>
    <dgm:pt modelId="{7002F955-D720-40CA-946B-7329180F5B59}" type="pres">
      <dgm:prSet presAssocID="{3E1E6F9E-4E4C-4A9F-9E7B-66B7C3449CBF}" presName="composite" presStyleCnt="0"/>
      <dgm:spPr/>
    </dgm:pt>
    <dgm:pt modelId="{47531A9B-2559-49AF-BC01-7D9D4646351B}" type="pres">
      <dgm:prSet presAssocID="{3E1E6F9E-4E4C-4A9F-9E7B-66B7C3449CBF}" presName="parentText" presStyleLbl="alignNode1" presStyleIdx="5" presStyleCnt="10">
        <dgm:presLayoutVars>
          <dgm:chMax val="1"/>
          <dgm:bulletEnabled val="1"/>
        </dgm:presLayoutVars>
      </dgm:prSet>
      <dgm:spPr/>
    </dgm:pt>
    <dgm:pt modelId="{2545A807-B255-40AC-8154-0B028C805C3E}" type="pres">
      <dgm:prSet presAssocID="{3E1E6F9E-4E4C-4A9F-9E7B-66B7C3449CBF}" presName="descendantText" presStyleLbl="alignAcc1" presStyleIdx="5" presStyleCnt="10">
        <dgm:presLayoutVars>
          <dgm:bulletEnabled val="1"/>
        </dgm:presLayoutVars>
      </dgm:prSet>
      <dgm:spPr/>
    </dgm:pt>
    <dgm:pt modelId="{869C010B-A7DA-441E-B3F3-9587E490B6A2}" type="pres">
      <dgm:prSet presAssocID="{65098178-A474-4E08-AC35-A5A9D8971233}" presName="sp" presStyleCnt="0"/>
      <dgm:spPr/>
    </dgm:pt>
    <dgm:pt modelId="{8B6A5220-32E4-4953-89D7-493C5E334AFB}" type="pres">
      <dgm:prSet presAssocID="{26A1A58F-A37E-4FCD-AC55-6C893DA3C075}" presName="composite" presStyleCnt="0"/>
      <dgm:spPr/>
    </dgm:pt>
    <dgm:pt modelId="{180A9585-BCFF-43BF-8B8E-CD5CD40D1859}" type="pres">
      <dgm:prSet presAssocID="{26A1A58F-A37E-4FCD-AC55-6C893DA3C075}" presName="parentText" presStyleLbl="alignNode1" presStyleIdx="6" presStyleCnt="10">
        <dgm:presLayoutVars>
          <dgm:chMax val="1"/>
          <dgm:bulletEnabled val="1"/>
        </dgm:presLayoutVars>
      </dgm:prSet>
      <dgm:spPr/>
    </dgm:pt>
    <dgm:pt modelId="{01E569CB-EED5-4E0C-B02D-8F593AF3CBBB}" type="pres">
      <dgm:prSet presAssocID="{26A1A58F-A37E-4FCD-AC55-6C893DA3C075}" presName="descendantText" presStyleLbl="alignAcc1" presStyleIdx="6" presStyleCnt="10">
        <dgm:presLayoutVars>
          <dgm:bulletEnabled val="1"/>
        </dgm:presLayoutVars>
      </dgm:prSet>
      <dgm:spPr/>
    </dgm:pt>
    <dgm:pt modelId="{7F5E6B74-0F74-4DB1-8103-CA74AB845769}" type="pres">
      <dgm:prSet presAssocID="{00394F04-C12F-4CAC-B27F-C49B6C38682C}" presName="sp" presStyleCnt="0"/>
      <dgm:spPr/>
    </dgm:pt>
    <dgm:pt modelId="{5BBE6508-77C8-43BF-85B9-E3688C49D469}" type="pres">
      <dgm:prSet presAssocID="{CB4F8A02-CBCC-49FC-9FC0-9AC947983EC9}" presName="composite" presStyleCnt="0"/>
      <dgm:spPr/>
    </dgm:pt>
    <dgm:pt modelId="{F1BB2845-C484-4C40-B9EE-579CE9DAE195}" type="pres">
      <dgm:prSet presAssocID="{CB4F8A02-CBCC-49FC-9FC0-9AC947983EC9}" presName="parentText" presStyleLbl="alignNode1" presStyleIdx="7" presStyleCnt="10">
        <dgm:presLayoutVars>
          <dgm:chMax val="1"/>
          <dgm:bulletEnabled val="1"/>
        </dgm:presLayoutVars>
      </dgm:prSet>
      <dgm:spPr/>
    </dgm:pt>
    <dgm:pt modelId="{E2F1F927-C762-4ED8-B3A6-B1BD40340F07}" type="pres">
      <dgm:prSet presAssocID="{CB4F8A02-CBCC-49FC-9FC0-9AC947983EC9}" presName="descendantText" presStyleLbl="alignAcc1" presStyleIdx="7" presStyleCnt="10">
        <dgm:presLayoutVars>
          <dgm:bulletEnabled val="1"/>
        </dgm:presLayoutVars>
      </dgm:prSet>
      <dgm:spPr/>
    </dgm:pt>
    <dgm:pt modelId="{DB1C96BB-2D29-4C53-A322-CB60D881D36E}" type="pres">
      <dgm:prSet presAssocID="{C0F5B8A8-A82C-4C7D-A78A-AF7622D6F075}" presName="sp" presStyleCnt="0"/>
      <dgm:spPr/>
    </dgm:pt>
    <dgm:pt modelId="{611B0FB9-14CA-4187-8876-E4FED1AF1B52}" type="pres">
      <dgm:prSet presAssocID="{639D2C6B-2132-4F6A-B72B-F852DBD65815}" presName="composite" presStyleCnt="0"/>
      <dgm:spPr/>
    </dgm:pt>
    <dgm:pt modelId="{0E1A0D45-57AF-48A9-879C-0560EF4A3FA1}" type="pres">
      <dgm:prSet presAssocID="{639D2C6B-2132-4F6A-B72B-F852DBD65815}" presName="parentText" presStyleLbl="alignNode1" presStyleIdx="8" presStyleCnt="10">
        <dgm:presLayoutVars>
          <dgm:chMax val="1"/>
          <dgm:bulletEnabled val="1"/>
        </dgm:presLayoutVars>
      </dgm:prSet>
      <dgm:spPr/>
    </dgm:pt>
    <dgm:pt modelId="{038BD40F-8A02-440F-8E41-7B8A688DA288}" type="pres">
      <dgm:prSet presAssocID="{639D2C6B-2132-4F6A-B72B-F852DBD65815}" presName="descendantText" presStyleLbl="alignAcc1" presStyleIdx="8" presStyleCnt="10">
        <dgm:presLayoutVars>
          <dgm:bulletEnabled val="1"/>
        </dgm:presLayoutVars>
      </dgm:prSet>
      <dgm:spPr/>
    </dgm:pt>
    <dgm:pt modelId="{41D26CC2-F3FE-489C-90B4-5FEF1E211A17}" type="pres">
      <dgm:prSet presAssocID="{E9050BF8-CE57-48A8-805B-8C88D9C2E9A4}" presName="sp" presStyleCnt="0"/>
      <dgm:spPr/>
    </dgm:pt>
    <dgm:pt modelId="{1FFAFFE5-1E9F-4898-B729-EE888DD5321A}" type="pres">
      <dgm:prSet presAssocID="{382ABD5F-5643-4BCD-BCDC-CAE7ACE34B3E}" presName="composite" presStyleCnt="0"/>
      <dgm:spPr/>
    </dgm:pt>
    <dgm:pt modelId="{94BC9781-1C19-44A7-80F7-F8778F112E42}" type="pres">
      <dgm:prSet presAssocID="{382ABD5F-5643-4BCD-BCDC-CAE7ACE34B3E}" presName="parentText" presStyleLbl="alignNode1" presStyleIdx="9" presStyleCnt="10">
        <dgm:presLayoutVars>
          <dgm:chMax val="1"/>
          <dgm:bulletEnabled val="1"/>
        </dgm:presLayoutVars>
      </dgm:prSet>
      <dgm:spPr/>
    </dgm:pt>
    <dgm:pt modelId="{AE2683D6-882C-47D3-83F3-31817BCDB32E}" type="pres">
      <dgm:prSet presAssocID="{382ABD5F-5643-4BCD-BCDC-CAE7ACE34B3E}" presName="descendantText" presStyleLbl="alignAcc1" presStyleIdx="9" presStyleCnt="10">
        <dgm:presLayoutVars>
          <dgm:bulletEnabled val="1"/>
        </dgm:presLayoutVars>
      </dgm:prSet>
      <dgm:spPr/>
    </dgm:pt>
  </dgm:ptLst>
  <dgm:cxnLst>
    <dgm:cxn modelId="{40AC2D04-5D6B-4BA2-A0D2-B787C8D61732}" srcId="{3EA75FB0-2F8D-49F2-95A4-E92A64011C7F}" destId="{63E4B3E4-F1C1-49C7-9AD5-6450932B538D}" srcOrd="4" destOrd="0" parTransId="{24ADF120-1857-47A2-B27E-F3911C18B301}" sibTransId="{3FFCFD22-28C3-4125-B810-B623721A476C}"/>
    <dgm:cxn modelId="{A2139E04-08D6-44A9-9184-9B7EF9E52556}" srcId="{B80487FD-906A-49A4-B21A-3F3651F582F4}" destId="{583F5D24-DC97-4CF1-9086-D83D2FD1DB6F}" srcOrd="0" destOrd="0" parTransId="{6674B820-193A-49FF-AFDA-F73EDB99E67C}" sibTransId="{7D00E6AB-3521-494A-8684-8E1E28AEB152}"/>
    <dgm:cxn modelId="{421A3F09-7681-4EC6-8449-35EB3CBA36C2}" type="presOf" srcId="{BA2928B4-FCD8-464B-8667-4CBDD08DC099}" destId="{AE2683D6-882C-47D3-83F3-31817BCDB32E}" srcOrd="0" destOrd="0" presId="urn:microsoft.com/office/officeart/2005/8/layout/chevron2"/>
    <dgm:cxn modelId="{74D2E30B-53A8-4937-9967-385D1A1FB4B6}" srcId="{B1D4F67C-A33F-427F-9AC1-3E12186FEEE7}" destId="{24E447BD-C253-49CA-8465-09A0704273BB}" srcOrd="0" destOrd="0" parTransId="{817AC17B-1688-4752-9B2A-006E0F857DE9}" sibTransId="{24A96BE7-4A69-4DB4-B40F-C12EA623C3AD}"/>
    <dgm:cxn modelId="{FEE3CB0F-A991-47CA-AC4D-A6D9E7C2D3A9}" type="presOf" srcId="{0BEE1753-C0B4-4440-8A6F-243982D26034}" destId="{6B26F9AD-C155-44E9-86D2-4DA55AC402D5}" srcOrd="0" destOrd="0" presId="urn:microsoft.com/office/officeart/2005/8/layout/chevron2"/>
    <dgm:cxn modelId="{37074410-FEF8-4C1E-8B97-0D0DEB3AB991}" srcId="{639D2C6B-2132-4F6A-B72B-F852DBD65815}" destId="{27CFE80F-FC7C-491A-AC67-21AC3FDEB9F5}" srcOrd="0" destOrd="0" parTransId="{A0C7C37D-841F-4C96-8011-FF1EDB7004ED}" sibTransId="{6494CAEB-658F-4E9E-B701-4E3538176AA6}"/>
    <dgm:cxn modelId="{B022532B-3969-4987-B4BD-77CB532ACB2A}" type="presOf" srcId="{3EA75FB0-2F8D-49F2-95A4-E92A64011C7F}" destId="{97C50967-6EA4-4705-B121-E24BB342B022}" srcOrd="0" destOrd="0" presId="urn:microsoft.com/office/officeart/2005/8/layout/chevron2"/>
    <dgm:cxn modelId="{19A7602F-4A33-49E6-906E-BBF35C0C95B7}" type="presOf" srcId="{26A1A58F-A37E-4FCD-AC55-6C893DA3C075}" destId="{180A9585-BCFF-43BF-8B8E-CD5CD40D1859}" srcOrd="0" destOrd="0" presId="urn:microsoft.com/office/officeart/2005/8/layout/chevron2"/>
    <dgm:cxn modelId="{FBC45538-972D-41BC-94CD-792585E2F89B}" type="presOf" srcId="{39476042-511C-4EBB-A66B-94205F59F3B4}" destId="{01E569CB-EED5-4E0C-B02D-8F593AF3CBBB}" srcOrd="0" destOrd="0" presId="urn:microsoft.com/office/officeart/2005/8/layout/chevron2"/>
    <dgm:cxn modelId="{A3731940-AFB8-44E6-BF86-18E236636250}" srcId="{3EA75FB0-2F8D-49F2-95A4-E92A64011C7F}" destId="{56C16E20-72E3-4E79-AB47-2FDF1C2CD463}" srcOrd="1" destOrd="0" parTransId="{B11F10F0-2137-472F-9762-A18FE306216D}" sibTransId="{030C1CC7-5508-4B23-93C3-F279F1665E5F}"/>
    <dgm:cxn modelId="{42256A40-AC48-4FF3-8BA9-7FACE3C42AE4}" type="presOf" srcId="{3E1E6F9E-4E4C-4A9F-9E7B-66B7C3449CBF}" destId="{47531A9B-2559-49AF-BC01-7D9D4646351B}" srcOrd="0" destOrd="0" presId="urn:microsoft.com/office/officeart/2005/8/layout/chevron2"/>
    <dgm:cxn modelId="{6DBF1B5C-EB84-49B8-A9C0-396DED94E859}" type="presOf" srcId="{583F5D24-DC97-4CF1-9086-D83D2FD1DB6F}" destId="{7F738EAB-0FFC-4C8A-9879-54A40C4FB365}" srcOrd="0" destOrd="0" presId="urn:microsoft.com/office/officeart/2005/8/layout/chevron2"/>
    <dgm:cxn modelId="{2D62965C-DE3D-4494-9178-AAD29485BC83}" type="presOf" srcId="{10764F17-E69F-4763-A48B-149946AB55B1}" destId="{8414503D-228A-44E1-876A-33F0CAF3B9B3}" srcOrd="0" destOrd="0" presId="urn:microsoft.com/office/officeart/2005/8/layout/chevron2"/>
    <dgm:cxn modelId="{E22B6F68-7C08-41BC-ADCB-AA905BEDFA1E}" type="presOf" srcId="{6DA41288-E2D2-40EB-B09C-9250317BE05D}" destId="{E2F1F927-C762-4ED8-B3A6-B1BD40340F07}" srcOrd="0" destOrd="0" presId="urn:microsoft.com/office/officeart/2005/8/layout/chevron2"/>
    <dgm:cxn modelId="{7D9AD568-6376-4620-90DC-E49E8019C270}" type="presOf" srcId="{27CFE80F-FC7C-491A-AC67-21AC3FDEB9F5}" destId="{038BD40F-8A02-440F-8E41-7B8A688DA288}" srcOrd="0" destOrd="0" presId="urn:microsoft.com/office/officeart/2005/8/layout/chevron2"/>
    <dgm:cxn modelId="{0E9AAE6D-2146-4892-92AC-2345BB1F27A3}" srcId="{3EA75FB0-2F8D-49F2-95A4-E92A64011C7F}" destId="{382ABD5F-5643-4BCD-BCDC-CAE7ACE34B3E}" srcOrd="9" destOrd="0" parTransId="{779FDCF4-7DE6-45AB-B610-5EAD197C2ABC}" sibTransId="{F036E626-6A4E-4953-B0BE-752D2FE962CC}"/>
    <dgm:cxn modelId="{B38BD24D-E5B7-412D-A363-AD78111EF708}" srcId="{CB941892-EAC2-454F-9D60-FBC4D927598C}" destId="{0BEE1753-C0B4-4440-8A6F-243982D26034}" srcOrd="0" destOrd="0" parTransId="{DBE2715A-CA88-4976-9621-30B6AF9B25A4}" sibTransId="{AB95157A-44C1-41BA-ABCA-E73448DB2892}"/>
    <dgm:cxn modelId="{F689084E-674E-472B-BA3B-340476F34701}" srcId="{3EA75FB0-2F8D-49F2-95A4-E92A64011C7F}" destId="{CB941892-EAC2-454F-9D60-FBC4D927598C}" srcOrd="0" destOrd="0" parTransId="{A873BB9D-76CC-497A-9C2A-36EF446D6985}" sibTransId="{A6B935F0-26AE-4321-B096-57195ACFF1A5}"/>
    <dgm:cxn modelId="{0A75804E-6144-48E5-A90C-9884B0064187}" srcId="{3EA75FB0-2F8D-49F2-95A4-E92A64011C7F}" destId="{CB4F8A02-CBCC-49FC-9FC0-9AC947983EC9}" srcOrd="7" destOrd="0" parTransId="{B131A1E4-CCE1-426A-9A3D-008C5F06DA8F}" sibTransId="{C0F5B8A8-A82C-4C7D-A78A-AF7622D6F075}"/>
    <dgm:cxn modelId="{8A7DDA72-DC72-4A2C-81EE-ABA7018798ED}" srcId="{63E4B3E4-F1C1-49C7-9AD5-6450932B538D}" destId="{10764F17-E69F-4763-A48B-149946AB55B1}" srcOrd="0" destOrd="0" parTransId="{88D0572C-A7BD-4B8F-95C0-EF546514B6C9}" sibTransId="{BA3271D2-4F82-44B9-92F6-CFD4CF8AE21D}"/>
    <dgm:cxn modelId="{2C32D575-7E4C-4127-A169-22AD4D934B18}" type="presOf" srcId="{56C16E20-72E3-4E79-AB47-2FDF1C2CD463}" destId="{CC77E567-B527-4235-9927-AF06CB995B73}" srcOrd="0" destOrd="0" presId="urn:microsoft.com/office/officeart/2005/8/layout/chevron2"/>
    <dgm:cxn modelId="{47778D77-D49A-4CAA-A39E-88EDA6557327}" srcId="{3EA75FB0-2F8D-49F2-95A4-E92A64011C7F}" destId="{26A1A58F-A37E-4FCD-AC55-6C893DA3C075}" srcOrd="6" destOrd="0" parTransId="{A82E568A-6259-42E7-87CE-CA042AAF74F8}" sibTransId="{00394F04-C12F-4CAC-B27F-C49B6C38682C}"/>
    <dgm:cxn modelId="{27E6A377-AA5E-45BA-8993-F6550D0359A9}" srcId="{382ABD5F-5643-4BCD-BCDC-CAE7ACE34B3E}" destId="{BA2928B4-FCD8-464B-8667-4CBDD08DC099}" srcOrd="0" destOrd="0" parTransId="{D60C4C3A-74D5-42A5-8A89-40B534C871FA}" sibTransId="{09032C09-C0F6-47D3-B973-2702B160CF4E}"/>
    <dgm:cxn modelId="{653E9B87-767D-4C38-AE96-DAF6EC50E1BA}" type="presOf" srcId="{B80487FD-906A-49A4-B21A-3F3651F582F4}" destId="{299A8EE3-04DC-41E2-9836-A31D24E77E0A}" srcOrd="0" destOrd="0" presId="urn:microsoft.com/office/officeart/2005/8/layout/chevron2"/>
    <dgm:cxn modelId="{6799EE8A-2A75-4417-8087-2F131C774B80}" srcId="{56C16E20-72E3-4E79-AB47-2FDF1C2CD463}" destId="{BEEA083D-8F13-46BF-ACCA-352ECF2A47DA}" srcOrd="0" destOrd="0" parTransId="{FE9C8E72-19AE-417F-9D86-CC60793FBD2C}" sibTransId="{FA77D9BC-BC8E-490F-9225-C51E17579D84}"/>
    <dgm:cxn modelId="{4F59498F-87A8-4C5F-9436-518D46BBD9E5}" srcId="{3EA75FB0-2F8D-49F2-95A4-E92A64011C7F}" destId="{B80487FD-906A-49A4-B21A-3F3651F582F4}" srcOrd="2" destOrd="0" parTransId="{5B4E945E-ED34-4942-A038-8BD32E2158A3}" sibTransId="{8989546D-0B76-4877-A18A-7D98BB00F50C}"/>
    <dgm:cxn modelId="{F562DD99-62D0-44B4-BB46-D65A0C37C222}" srcId="{3EA75FB0-2F8D-49F2-95A4-E92A64011C7F}" destId="{B1D4F67C-A33F-427F-9AC1-3E12186FEEE7}" srcOrd="3" destOrd="0" parTransId="{840D4994-7733-4C01-9204-408BFD31F1A4}" sibTransId="{9E7E4D57-3092-481B-B4C9-D034FC2859A7}"/>
    <dgm:cxn modelId="{B9CECEAE-31AC-43BC-9F76-68F00072A569}" type="presOf" srcId="{BEEA083D-8F13-46BF-ACCA-352ECF2A47DA}" destId="{9B1BF83B-61D7-4048-860A-6E9EDD0A37A8}" srcOrd="0" destOrd="0" presId="urn:microsoft.com/office/officeart/2005/8/layout/chevron2"/>
    <dgm:cxn modelId="{D1FA0CB8-7D03-437A-A592-7A77C66CD906}" type="presOf" srcId="{24E447BD-C253-49CA-8465-09A0704273BB}" destId="{B83F0B8B-86B3-4B26-918E-105DBC0CCF94}" srcOrd="0" destOrd="0" presId="urn:microsoft.com/office/officeart/2005/8/layout/chevron2"/>
    <dgm:cxn modelId="{22D4FEBC-FD32-4846-A814-134E8C86D9BE}" srcId="{3EA75FB0-2F8D-49F2-95A4-E92A64011C7F}" destId="{3E1E6F9E-4E4C-4A9F-9E7B-66B7C3449CBF}" srcOrd="5" destOrd="0" parTransId="{0409A792-EC39-4B9A-AD07-E8DC8DF7C96C}" sibTransId="{65098178-A474-4E08-AC35-A5A9D8971233}"/>
    <dgm:cxn modelId="{768A88CF-7D7D-4AD8-B156-21BCB6776D6D}" type="presOf" srcId="{CB941892-EAC2-454F-9D60-FBC4D927598C}" destId="{C3E4D943-1C1E-46B3-82F6-F56A17C68DE8}" srcOrd="0" destOrd="0" presId="urn:microsoft.com/office/officeart/2005/8/layout/chevron2"/>
    <dgm:cxn modelId="{FA3346D0-7E25-4B04-A3CF-51AB6B0D8A21}" type="presOf" srcId="{CB4F8A02-CBCC-49FC-9FC0-9AC947983EC9}" destId="{F1BB2845-C484-4C40-B9EE-579CE9DAE195}" srcOrd="0" destOrd="0" presId="urn:microsoft.com/office/officeart/2005/8/layout/chevron2"/>
    <dgm:cxn modelId="{9FEEA3D0-478F-460A-ACBC-B2C0CC479206}" type="presOf" srcId="{639D2C6B-2132-4F6A-B72B-F852DBD65815}" destId="{0E1A0D45-57AF-48A9-879C-0560EF4A3FA1}" srcOrd="0" destOrd="0" presId="urn:microsoft.com/office/officeart/2005/8/layout/chevron2"/>
    <dgm:cxn modelId="{6D35D4E3-1D15-4B8A-8F1D-F67C16F6B003}" srcId="{3E1E6F9E-4E4C-4A9F-9E7B-66B7C3449CBF}" destId="{8C057EFF-7B87-487E-B2F5-4754F3F3AE83}" srcOrd="0" destOrd="0" parTransId="{40674673-A59B-4AA7-9540-BD077A4291DA}" sibTransId="{B73C8C0F-EDAD-4156-8357-1F63A584C079}"/>
    <dgm:cxn modelId="{AD828CE5-17E3-4323-BD9F-DFBFB40A3B47}" srcId="{26A1A58F-A37E-4FCD-AC55-6C893DA3C075}" destId="{39476042-511C-4EBB-A66B-94205F59F3B4}" srcOrd="0" destOrd="0" parTransId="{F473D4A4-57ED-45A0-A640-111B98C2BA0A}" sibTransId="{B9EAF662-0446-451F-A970-DF71C4CB0FA9}"/>
    <dgm:cxn modelId="{D20BF2EC-1B30-424E-9BCB-487D57E38460}" type="presOf" srcId="{63E4B3E4-F1C1-49C7-9AD5-6450932B538D}" destId="{2AC4E3C2-50A3-4CC8-8207-612268446158}" srcOrd="0" destOrd="0" presId="urn:microsoft.com/office/officeart/2005/8/layout/chevron2"/>
    <dgm:cxn modelId="{7D6AF3ED-D1D0-4351-B2AE-7DA436EFCA42}" type="presOf" srcId="{382ABD5F-5643-4BCD-BCDC-CAE7ACE34B3E}" destId="{94BC9781-1C19-44A7-80F7-F8778F112E42}" srcOrd="0" destOrd="0" presId="urn:microsoft.com/office/officeart/2005/8/layout/chevron2"/>
    <dgm:cxn modelId="{C3FA49EE-C4F3-4740-9404-6565327EDD6B}" srcId="{CB4F8A02-CBCC-49FC-9FC0-9AC947983EC9}" destId="{6DA41288-E2D2-40EB-B09C-9250317BE05D}" srcOrd="0" destOrd="0" parTransId="{42B26114-D003-4BB7-A28A-7ED28B1D50EA}" sibTransId="{F4A0A174-6563-4E9E-97AE-2F4C52F1D1A8}"/>
    <dgm:cxn modelId="{7CAD57F0-366A-4D91-BEB4-4B405DF9C8AB}" srcId="{3EA75FB0-2F8D-49F2-95A4-E92A64011C7F}" destId="{639D2C6B-2132-4F6A-B72B-F852DBD65815}" srcOrd="8" destOrd="0" parTransId="{65291E88-B2BD-4030-ABA2-AC7A9F29A94E}" sibTransId="{E9050BF8-CE57-48A8-805B-8C88D9C2E9A4}"/>
    <dgm:cxn modelId="{30F651FC-30D4-49F7-82CF-6FDF00B2C361}" type="presOf" srcId="{8C057EFF-7B87-487E-B2F5-4754F3F3AE83}" destId="{2545A807-B255-40AC-8154-0B028C805C3E}" srcOrd="0" destOrd="0" presId="urn:microsoft.com/office/officeart/2005/8/layout/chevron2"/>
    <dgm:cxn modelId="{5612B6FD-F4F3-4CE4-B68B-FCFE9D4B12E6}" type="presOf" srcId="{B1D4F67C-A33F-427F-9AC1-3E12186FEEE7}" destId="{5266C9AA-8DB2-4311-AF8F-9B46C169480D}" srcOrd="0" destOrd="0" presId="urn:microsoft.com/office/officeart/2005/8/layout/chevron2"/>
    <dgm:cxn modelId="{FD896B33-E2A8-4CDC-959A-1CBDECDA439A}" type="presParOf" srcId="{97C50967-6EA4-4705-B121-E24BB342B022}" destId="{C3AB4E7B-1AB8-494D-AB83-3B95AB850A2C}" srcOrd="0" destOrd="0" presId="urn:microsoft.com/office/officeart/2005/8/layout/chevron2"/>
    <dgm:cxn modelId="{0AF6DB18-5ED2-4EAD-843D-4E6248570E83}" type="presParOf" srcId="{C3AB4E7B-1AB8-494D-AB83-3B95AB850A2C}" destId="{C3E4D943-1C1E-46B3-82F6-F56A17C68DE8}" srcOrd="0" destOrd="0" presId="urn:microsoft.com/office/officeart/2005/8/layout/chevron2"/>
    <dgm:cxn modelId="{BD4C09BD-43DA-4B30-8077-54936CD0D659}" type="presParOf" srcId="{C3AB4E7B-1AB8-494D-AB83-3B95AB850A2C}" destId="{6B26F9AD-C155-44E9-86D2-4DA55AC402D5}" srcOrd="1" destOrd="0" presId="urn:microsoft.com/office/officeart/2005/8/layout/chevron2"/>
    <dgm:cxn modelId="{5460FB70-CF19-4FCE-8D3A-3E687D9B7AC0}" type="presParOf" srcId="{97C50967-6EA4-4705-B121-E24BB342B022}" destId="{2320870A-71EC-4C56-9EFC-8B64EB05C850}" srcOrd="1" destOrd="0" presId="urn:microsoft.com/office/officeart/2005/8/layout/chevron2"/>
    <dgm:cxn modelId="{2B5319D1-082E-4F04-8298-3574F23DC03F}" type="presParOf" srcId="{97C50967-6EA4-4705-B121-E24BB342B022}" destId="{AC0C4716-6E75-462E-A9CB-B4A4EADB0C0A}" srcOrd="2" destOrd="0" presId="urn:microsoft.com/office/officeart/2005/8/layout/chevron2"/>
    <dgm:cxn modelId="{F14FC489-94F1-40B2-9A7D-775EF863E6A4}" type="presParOf" srcId="{AC0C4716-6E75-462E-A9CB-B4A4EADB0C0A}" destId="{CC77E567-B527-4235-9927-AF06CB995B73}" srcOrd="0" destOrd="0" presId="urn:microsoft.com/office/officeart/2005/8/layout/chevron2"/>
    <dgm:cxn modelId="{A3B18F65-1127-48F6-83D6-38BE3E14A5D3}" type="presParOf" srcId="{AC0C4716-6E75-462E-A9CB-B4A4EADB0C0A}" destId="{9B1BF83B-61D7-4048-860A-6E9EDD0A37A8}" srcOrd="1" destOrd="0" presId="urn:microsoft.com/office/officeart/2005/8/layout/chevron2"/>
    <dgm:cxn modelId="{90E94291-720D-4FE7-9DBF-871F4EF2C7DF}" type="presParOf" srcId="{97C50967-6EA4-4705-B121-E24BB342B022}" destId="{E763B5F5-964C-4136-BD3E-427688DB5A59}" srcOrd="3" destOrd="0" presId="urn:microsoft.com/office/officeart/2005/8/layout/chevron2"/>
    <dgm:cxn modelId="{C989FB8B-E89B-4D79-AEAB-CD4BCFA01A68}" type="presParOf" srcId="{97C50967-6EA4-4705-B121-E24BB342B022}" destId="{5F38E7C0-F86B-4A29-A84B-8132EFF90A90}" srcOrd="4" destOrd="0" presId="urn:microsoft.com/office/officeart/2005/8/layout/chevron2"/>
    <dgm:cxn modelId="{79BE7827-4661-4962-925A-6201784C514F}" type="presParOf" srcId="{5F38E7C0-F86B-4A29-A84B-8132EFF90A90}" destId="{299A8EE3-04DC-41E2-9836-A31D24E77E0A}" srcOrd="0" destOrd="0" presId="urn:microsoft.com/office/officeart/2005/8/layout/chevron2"/>
    <dgm:cxn modelId="{2EF21B2E-7748-47C3-943A-6D04D7A7B0AF}" type="presParOf" srcId="{5F38E7C0-F86B-4A29-A84B-8132EFF90A90}" destId="{7F738EAB-0FFC-4C8A-9879-54A40C4FB365}" srcOrd="1" destOrd="0" presId="urn:microsoft.com/office/officeart/2005/8/layout/chevron2"/>
    <dgm:cxn modelId="{057E67F6-0A87-4665-92F8-15ECD918671E}" type="presParOf" srcId="{97C50967-6EA4-4705-B121-E24BB342B022}" destId="{CD890E35-76E2-4597-B0D5-40F15230F254}" srcOrd="5" destOrd="0" presId="urn:microsoft.com/office/officeart/2005/8/layout/chevron2"/>
    <dgm:cxn modelId="{A829642B-A57B-41F3-8E1F-E7945C39C8ED}" type="presParOf" srcId="{97C50967-6EA4-4705-B121-E24BB342B022}" destId="{BBE8D024-24B3-43C8-91BD-8A14882141DF}" srcOrd="6" destOrd="0" presId="urn:microsoft.com/office/officeart/2005/8/layout/chevron2"/>
    <dgm:cxn modelId="{9A0A8429-292B-4E30-921E-7BE7084CE401}" type="presParOf" srcId="{BBE8D024-24B3-43C8-91BD-8A14882141DF}" destId="{5266C9AA-8DB2-4311-AF8F-9B46C169480D}" srcOrd="0" destOrd="0" presId="urn:microsoft.com/office/officeart/2005/8/layout/chevron2"/>
    <dgm:cxn modelId="{1D93AD84-FD44-49D5-8C91-57F06B7F32F0}" type="presParOf" srcId="{BBE8D024-24B3-43C8-91BD-8A14882141DF}" destId="{B83F0B8B-86B3-4B26-918E-105DBC0CCF94}" srcOrd="1" destOrd="0" presId="urn:microsoft.com/office/officeart/2005/8/layout/chevron2"/>
    <dgm:cxn modelId="{DAA2240F-2D6C-405B-9720-3B41D8CEB6CE}" type="presParOf" srcId="{97C50967-6EA4-4705-B121-E24BB342B022}" destId="{6E51EC20-A102-4BFA-BDBF-750283D8F278}" srcOrd="7" destOrd="0" presId="urn:microsoft.com/office/officeart/2005/8/layout/chevron2"/>
    <dgm:cxn modelId="{AAD7848E-50F0-4DC8-B835-E8DE623046E5}" type="presParOf" srcId="{97C50967-6EA4-4705-B121-E24BB342B022}" destId="{957F124E-06B3-46F9-8921-D372E25B2D14}" srcOrd="8" destOrd="0" presId="urn:microsoft.com/office/officeart/2005/8/layout/chevron2"/>
    <dgm:cxn modelId="{7FA8D967-62D2-4400-B32B-B343AD8BA3FC}" type="presParOf" srcId="{957F124E-06B3-46F9-8921-D372E25B2D14}" destId="{2AC4E3C2-50A3-4CC8-8207-612268446158}" srcOrd="0" destOrd="0" presId="urn:microsoft.com/office/officeart/2005/8/layout/chevron2"/>
    <dgm:cxn modelId="{18AF4D16-AD5D-4122-B81A-9E22C24B4D8B}" type="presParOf" srcId="{957F124E-06B3-46F9-8921-D372E25B2D14}" destId="{8414503D-228A-44E1-876A-33F0CAF3B9B3}" srcOrd="1" destOrd="0" presId="urn:microsoft.com/office/officeart/2005/8/layout/chevron2"/>
    <dgm:cxn modelId="{21DC4900-03BE-4D00-B960-EAD932AC54AB}" type="presParOf" srcId="{97C50967-6EA4-4705-B121-E24BB342B022}" destId="{29169EC7-41D5-4AC8-94D5-44CC4C7A50FF}" srcOrd="9" destOrd="0" presId="urn:microsoft.com/office/officeart/2005/8/layout/chevron2"/>
    <dgm:cxn modelId="{AB23285A-A417-4792-BB58-0DDB692E0967}" type="presParOf" srcId="{97C50967-6EA4-4705-B121-E24BB342B022}" destId="{7002F955-D720-40CA-946B-7329180F5B59}" srcOrd="10" destOrd="0" presId="urn:microsoft.com/office/officeart/2005/8/layout/chevron2"/>
    <dgm:cxn modelId="{034A9321-336B-41FC-B62C-87D00589316C}" type="presParOf" srcId="{7002F955-D720-40CA-946B-7329180F5B59}" destId="{47531A9B-2559-49AF-BC01-7D9D4646351B}" srcOrd="0" destOrd="0" presId="urn:microsoft.com/office/officeart/2005/8/layout/chevron2"/>
    <dgm:cxn modelId="{BE38B0D0-13ED-4D4C-85B7-83BDEC70317D}" type="presParOf" srcId="{7002F955-D720-40CA-946B-7329180F5B59}" destId="{2545A807-B255-40AC-8154-0B028C805C3E}" srcOrd="1" destOrd="0" presId="urn:microsoft.com/office/officeart/2005/8/layout/chevron2"/>
    <dgm:cxn modelId="{3DF17CE6-6125-4348-81F7-6A75FAB1F415}" type="presParOf" srcId="{97C50967-6EA4-4705-B121-E24BB342B022}" destId="{869C010B-A7DA-441E-B3F3-9587E490B6A2}" srcOrd="11" destOrd="0" presId="urn:microsoft.com/office/officeart/2005/8/layout/chevron2"/>
    <dgm:cxn modelId="{C7962130-07CE-4AC6-A05B-5A5D30A77623}" type="presParOf" srcId="{97C50967-6EA4-4705-B121-E24BB342B022}" destId="{8B6A5220-32E4-4953-89D7-493C5E334AFB}" srcOrd="12" destOrd="0" presId="urn:microsoft.com/office/officeart/2005/8/layout/chevron2"/>
    <dgm:cxn modelId="{7EEB894D-0F7E-4CCB-AC94-BC4273194FD5}" type="presParOf" srcId="{8B6A5220-32E4-4953-89D7-493C5E334AFB}" destId="{180A9585-BCFF-43BF-8B8E-CD5CD40D1859}" srcOrd="0" destOrd="0" presId="urn:microsoft.com/office/officeart/2005/8/layout/chevron2"/>
    <dgm:cxn modelId="{428024AE-E71B-46C3-94D4-E73FD609DACA}" type="presParOf" srcId="{8B6A5220-32E4-4953-89D7-493C5E334AFB}" destId="{01E569CB-EED5-4E0C-B02D-8F593AF3CBBB}" srcOrd="1" destOrd="0" presId="urn:microsoft.com/office/officeart/2005/8/layout/chevron2"/>
    <dgm:cxn modelId="{5C055FE0-31BB-4C3C-A021-87A0B131E8FF}" type="presParOf" srcId="{97C50967-6EA4-4705-B121-E24BB342B022}" destId="{7F5E6B74-0F74-4DB1-8103-CA74AB845769}" srcOrd="13" destOrd="0" presId="urn:microsoft.com/office/officeart/2005/8/layout/chevron2"/>
    <dgm:cxn modelId="{6E116D32-CBC1-4FD3-8AE7-0F4B6DE20BD8}" type="presParOf" srcId="{97C50967-6EA4-4705-B121-E24BB342B022}" destId="{5BBE6508-77C8-43BF-85B9-E3688C49D469}" srcOrd="14" destOrd="0" presId="urn:microsoft.com/office/officeart/2005/8/layout/chevron2"/>
    <dgm:cxn modelId="{4F8B4FDA-90A8-41D8-9BCD-5A6B817D716A}" type="presParOf" srcId="{5BBE6508-77C8-43BF-85B9-E3688C49D469}" destId="{F1BB2845-C484-4C40-B9EE-579CE9DAE195}" srcOrd="0" destOrd="0" presId="urn:microsoft.com/office/officeart/2005/8/layout/chevron2"/>
    <dgm:cxn modelId="{E48C8133-AB1B-49FA-815D-B79CE0F59E6A}" type="presParOf" srcId="{5BBE6508-77C8-43BF-85B9-E3688C49D469}" destId="{E2F1F927-C762-4ED8-B3A6-B1BD40340F07}" srcOrd="1" destOrd="0" presId="urn:microsoft.com/office/officeart/2005/8/layout/chevron2"/>
    <dgm:cxn modelId="{7F3FF26C-05E4-4F9F-85D1-7A2F25EB6EA7}" type="presParOf" srcId="{97C50967-6EA4-4705-B121-E24BB342B022}" destId="{DB1C96BB-2D29-4C53-A322-CB60D881D36E}" srcOrd="15" destOrd="0" presId="urn:microsoft.com/office/officeart/2005/8/layout/chevron2"/>
    <dgm:cxn modelId="{531E0110-00EB-4D01-8646-04294A672D8B}" type="presParOf" srcId="{97C50967-6EA4-4705-B121-E24BB342B022}" destId="{611B0FB9-14CA-4187-8876-E4FED1AF1B52}" srcOrd="16" destOrd="0" presId="urn:microsoft.com/office/officeart/2005/8/layout/chevron2"/>
    <dgm:cxn modelId="{1333B4D1-4D17-4EEA-9F8A-0FB0C8567C26}" type="presParOf" srcId="{611B0FB9-14CA-4187-8876-E4FED1AF1B52}" destId="{0E1A0D45-57AF-48A9-879C-0560EF4A3FA1}" srcOrd="0" destOrd="0" presId="urn:microsoft.com/office/officeart/2005/8/layout/chevron2"/>
    <dgm:cxn modelId="{69881B57-F933-43FE-AD31-40C123871F35}" type="presParOf" srcId="{611B0FB9-14CA-4187-8876-E4FED1AF1B52}" destId="{038BD40F-8A02-440F-8E41-7B8A688DA288}" srcOrd="1" destOrd="0" presId="urn:microsoft.com/office/officeart/2005/8/layout/chevron2"/>
    <dgm:cxn modelId="{E12827C0-01B1-479C-B57D-C0A0D3697CE8}" type="presParOf" srcId="{97C50967-6EA4-4705-B121-E24BB342B022}" destId="{41D26CC2-F3FE-489C-90B4-5FEF1E211A17}" srcOrd="17" destOrd="0" presId="urn:microsoft.com/office/officeart/2005/8/layout/chevron2"/>
    <dgm:cxn modelId="{CD56AF64-DDF8-4BA6-BB6B-4FE39CBCFEC5}" type="presParOf" srcId="{97C50967-6EA4-4705-B121-E24BB342B022}" destId="{1FFAFFE5-1E9F-4898-B729-EE888DD5321A}" srcOrd="18" destOrd="0" presId="urn:microsoft.com/office/officeart/2005/8/layout/chevron2"/>
    <dgm:cxn modelId="{22E691C1-2E0A-4296-8466-27EA9A2A8130}" type="presParOf" srcId="{1FFAFFE5-1E9F-4898-B729-EE888DD5321A}" destId="{94BC9781-1C19-44A7-80F7-F8778F112E42}" srcOrd="0" destOrd="0" presId="urn:microsoft.com/office/officeart/2005/8/layout/chevron2"/>
    <dgm:cxn modelId="{7C042D58-4D97-433E-9FB6-D3A00BC75B24}" type="presParOf" srcId="{1FFAFFE5-1E9F-4898-B729-EE888DD5321A}" destId="{AE2683D6-882C-47D3-83F3-31817BCDB32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E4D943-1C1E-46B3-82F6-F56A17C68DE8}">
      <dsp:nvSpPr>
        <dsp:cNvPr id="0" name=""/>
        <dsp:cNvSpPr/>
      </dsp:nvSpPr>
      <dsp:spPr>
        <a:xfrm rot="5400000">
          <a:off x="-67220" y="68462"/>
          <a:ext cx="448135" cy="313694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 rot="-5400000">
        <a:off x="1" y="158088"/>
        <a:ext cx="313694" cy="134441"/>
      </dsp:txXfrm>
    </dsp:sp>
    <dsp:sp modelId="{6B26F9AD-C155-44E9-86D2-4DA55AC402D5}">
      <dsp:nvSpPr>
        <dsp:cNvPr id="0" name=""/>
        <dsp:cNvSpPr/>
      </dsp:nvSpPr>
      <dsp:spPr>
        <a:xfrm rot="5400000">
          <a:off x="2420499" y="-2105562"/>
          <a:ext cx="291287" cy="450489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chemeClr val="bg1">
                  <a:lumMod val="65000"/>
                </a:schemeClr>
              </a:solidFill>
              <a:latin typeface="Arial" panose="020B0604020202020204"/>
              <a:ea typeface="+mn-ea"/>
              <a:cs typeface="+mn-cs"/>
            </a:rPr>
            <a:t>19/11/2025 – AEWG introduction to mandate</a:t>
          </a:r>
        </a:p>
      </dsp:txBody>
      <dsp:txXfrm rot="-5400000">
        <a:off x="313694" y="15462"/>
        <a:ext cx="4490679" cy="262849"/>
      </dsp:txXfrm>
    </dsp:sp>
    <dsp:sp modelId="{CC77E567-B527-4235-9927-AF06CB995B73}">
      <dsp:nvSpPr>
        <dsp:cNvPr id="0" name=""/>
        <dsp:cNvSpPr/>
      </dsp:nvSpPr>
      <dsp:spPr>
        <a:xfrm rot="5400000">
          <a:off x="-67220" y="455588"/>
          <a:ext cx="448135" cy="313694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>
            <a:latin typeface="+mj-lt"/>
          </a:endParaRPr>
        </a:p>
      </dsp:txBody>
      <dsp:txXfrm rot="-5400000">
        <a:off x="1" y="545214"/>
        <a:ext cx="313694" cy="134441"/>
      </dsp:txXfrm>
    </dsp:sp>
    <dsp:sp modelId="{9B1BF83B-61D7-4048-860A-6E9EDD0A37A8}">
      <dsp:nvSpPr>
        <dsp:cNvPr id="0" name=""/>
        <dsp:cNvSpPr/>
      </dsp:nvSpPr>
      <dsp:spPr>
        <a:xfrm rot="5400000">
          <a:off x="2420499" y="-1718436"/>
          <a:ext cx="291287" cy="4504898"/>
        </a:xfrm>
        <a:prstGeom prst="round2Same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004FEE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rgbClr val="FFFFFF">
                  <a:lumMod val="65000"/>
                </a:srgbClr>
              </a:solidFill>
              <a:latin typeface="Arial" panose="020B0604020202020204"/>
              <a:ea typeface="+mn-ea"/>
              <a:cs typeface="+mn-cs"/>
            </a:rPr>
            <a:t>03/12/2025 – MESC introduction to mandate</a:t>
          </a:r>
        </a:p>
      </dsp:txBody>
      <dsp:txXfrm rot="-5400000">
        <a:off x="313694" y="402588"/>
        <a:ext cx="4490679" cy="262849"/>
      </dsp:txXfrm>
    </dsp:sp>
    <dsp:sp modelId="{299A8EE3-04DC-41E2-9836-A31D24E77E0A}">
      <dsp:nvSpPr>
        <dsp:cNvPr id="0" name=""/>
        <dsp:cNvSpPr/>
      </dsp:nvSpPr>
      <dsp:spPr>
        <a:xfrm rot="5400000">
          <a:off x="-67220" y="842714"/>
          <a:ext cx="448135" cy="313694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latin typeface="+mj-lt"/>
          </a:endParaRPr>
        </a:p>
      </dsp:txBody>
      <dsp:txXfrm rot="-5400000">
        <a:off x="1" y="932340"/>
        <a:ext cx="313694" cy="134441"/>
      </dsp:txXfrm>
    </dsp:sp>
    <dsp:sp modelId="{7F738EAB-0FFC-4C8A-9879-54A40C4FB365}">
      <dsp:nvSpPr>
        <dsp:cNvPr id="0" name=""/>
        <dsp:cNvSpPr/>
      </dsp:nvSpPr>
      <dsp:spPr>
        <a:xfrm rot="5400000">
          <a:off x="2420499" y="-1331310"/>
          <a:ext cx="291287" cy="4504898"/>
        </a:xfrm>
        <a:prstGeom prst="round2Same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004FEE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rgbClr val="FFFFFF">
                  <a:lumMod val="65000"/>
                </a:srgbClr>
              </a:solidFill>
              <a:latin typeface="Arial" panose="020B0604020202020204"/>
              <a:ea typeface="+mn-ea"/>
              <a:cs typeface="+mn-cs"/>
            </a:rPr>
            <a:t>09/12/2025 – CACM TF first discussion</a:t>
          </a:r>
          <a:endParaRPr lang="en-US" sz="1100" b="0" kern="1200">
            <a:solidFill>
              <a:srgbClr val="FFFFFF">
                <a:lumMod val="65000"/>
              </a:srgbClr>
            </a:solidFill>
            <a:latin typeface="Arial" panose="020B0604020202020204"/>
            <a:ea typeface="+mn-ea"/>
            <a:cs typeface="+mn-cs"/>
          </a:endParaRPr>
        </a:p>
      </dsp:txBody>
      <dsp:txXfrm rot="-5400000">
        <a:off x="313694" y="789714"/>
        <a:ext cx="4490679" cy="262849"/>
      </dsp:txXfrm>
    </dsp:sp>
    <dsp:sp modelId="{5266C9AA-8DB2-4311-AF8F-9B46C169480D}">
      <dsp:nvSpPr>
        <dsp:cNvPr id="0" name=""/>
        <dsp:cNvSpPr/>
      </dsp:nvSpPr>
      <dsp:spPr>
        <a:xfrm rot="5400000">
          <a:off x="-67220" y="1229840"/>
          <a:ext cx="448135" cy="313694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>
            <a:latin typeface="+mj-lt"/>
          </a:endParaRPr>
        </a:p>
      </dsp:txBody>
      <dsp:txXfrm rot="-5400000">
        <a:off x="1" y="1319466"/>
        <a:ext cx="313694" cy="134441"/>
      </dsp:txXfrm>
    </dsp:sp>
    <dsp:sp modelId="{B83F0B8B-86B3-4B26-918E-105DBC0CCF94}">
      <dsp:nvSpPr>
        <dsp:cNvPr id="0" name=""/>
        <dsp:cNvSpPr/>
      </dsp:nvSpPr>
      <dsp:spPr>
        <a:xfrm rot="5400000">
          <a:off x="2420499" y="-944185"/>
          <a:ext cx="291287" cy="4504898"/>
        </a:xfrm>
        <a:prstGeom prst="round2Same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004FEE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chemeClr val="bg1">
                  <a:lumMod val="75000"/>
                </a:schemeClr>
              </a:solidFill>
              <a:latin typeface="Arial" panose="020B0604020202020204"/>
              <a:ea typeface="+mn-ea"/>
              <a:cs typeface="+mn-cs"/>
            </a:rPr>
            <a:t>12/01/2026 – AEWG update</a:t>
          </a:r>
          <a:endParaRPr lang="en-US" sz="1100" b="0" kern="1200">
            <a:solidFill>
              <a:schemeClr val="bg1">
                <a:lumMod val="75000"/>
              </a:schemeClr>
            </a:solidFill>
            <a:latin typeface="Arial" panose="020B0604020202020204"/>
            <a:ea typeface="+mn-ea"/>
            <a:cs typeface="+mn-cs"/>
          </a:endParaRPr>
        </a:p>
      </dsp:txBody>
      <dsp:txXfrm rot="-5400000">
        <a:off x="313694" y="1176839"/>
        <a:ext cx="4490679" cy="262849"/>
      </dsp:txXfrm>
    </dsp:sp>
    <dsp:sp modelId="{2AC4E3C2-50A3-4CC8-8207-612268446158}">
      <dsp:nvSpPr>
        <dsp:cNvPr id="0" name=""/>
        <dsp:cNvSpPr/>
      </dsp:nvSpPr>
      <dsp:spPr>
        <a:xfrm rot="5400000">
          <a:off x="-67220" y="1616966"/>
          <a:ext cx="448135" cy="313694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 rot="-5400000">
        <a:off x="1" y="1706592"/>
        <a:ext cx="313694" cy="134441"/>
      </dsp:txXfrm>
    </dsp:sp>
    <dsp:sp modelId="{8414503D-228A-44E1-876A-33F0CAF3B9B3}">
      <dsp:nvSpPr>
        <dsp:cNvPr id="0" name=""/>
        <dsp:cNvSpPr/>
      </dsp:nvSpPr>
      <dsp:spPr>
        <a:xfrm rot="5400000">
          <a:off x="2420499" y="-557059"/>
          <a:ext cx="291287" cy="450489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0" kern="1200">
              <a:solidFill>
                <a:srgbClr val="FFFFFF">
                  <a:lumMod val="75000"/>
                </a:srgbClr>
              </a:solidFill>
              <a:latin typeface="Arial" panose="020B0604020202020204"/>
              <a:ea typeface="+mn-ea"/>
              <a:cs typeface="+mn-cs"/>
            </a:rPr>
            <a:t>27/01/2026 – CACM TF discussion</a:t>
          </a:r>
        </a:p>
      </dsp:txBody>
      <dsp:txXfrm rot="-5400000">
        <a:off x="313694" y="1563965"/>
        <a:ext cx="4490679" cy="262849"/>
      </dsp:txXfrm>
    </dsp:sp>
    <dsp:sp modelId="{47531A9B-2559-49AF-BC01-7D9D4646351B}">
      <dsp:nvSpPr>
        <dsp:cNvPr id="0" name=""/>
        <dsp:cNvSpPr/>
      </dsp:nvSpPr>
      <dsp:spPr>
        <a:xfrm rot="5400000">
          <a:off x="-67220" y="2004092"/>
          <a:ext cx="448135" cy="313694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latin typeface="+mj-lt"/>
          </a:endParaRPr>
        </a:p>
      </dsp:txBody>
      <dsp:txXfrm rot="-5400000">
        <a:off x="1" y="2093718"/>
        <a:ext cx="313694" cy="134441"/>
      </dsp:txXfrm>
    </dsp:sp>
    <dsp:sp modelId="{2545A807-B255-40AC-8154-0B028C805C3E}">
      <dsp:nvSpPr>
        <dsp:cNvPr id="0" name=""/>
        <dsp:cNvSpPr/>
      </dsp:nvSpPr>
      <dsp:spPr>
        <a:xfrm rot="5400000">
          <a:off x="2420499" y="-169933"/>
          <a:ext cx="291287" cy="450489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1" kern="1200"/>
            <a:t>10/02/2026 – MESC discussion</a:t>
          </a:r>
          <a:endParaRPr lang="en-GB" sz="1100" b="1" kern="1200">
            <a:latin typeface="+mj-lt"/>
          </a:endParaRPr>
        </a:p>
      </dsp:txBody>
      <dsp:txXfrm rot="-5400000">
        <a:off x="313694" y="1951091"/>
        <a:ext cx="4490679" cy="262849"/>
      </dsp:txXfrm>
    </dsp:sp>
    <dsp:sp modelId="{180A9585-BCFF-43BF-8B8E-CD5CD40D1859}">
      <dsp:nvSpPr>
        <dsp:cNvPr id="0" name=""/>
        <dsp:cNvSpPr/>
      </dsp:nvSpPr>
      <dsp:spPr>
        <a:xfrm rot="5400000">
          <a:off x="-67220" y="2391217"/>
          <a:ext cx="448135" cy="313694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latin typeface="+mj-lt"/>
          </a:endParaRPr>
        </a:p>
      </dsp:txBody>
      <dsp:txXfrm rot="-5400000">
        <a:off x="1" y="2480843"/>
        <a:ext cx="313694" cy="134441"/>
      </dsp:txXfrm>
    </dsp:sp>
    <dsp:sp modelId="{01E569CB-EED5-4E0C-B02D-8F593AF3CBBB}">
      <dsp:nvSpPr>
        <dsp:cNvPr id="0" name=""/>
        <dsp:cNvSpPr/>
      </dsp:nvSpPr>
      <dsp:spPr>
        <a:xfrm rot="5400000">
          <a:off x="2420499" y="217192"/>
          <a:ext cx="291287" cy="450489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1" kern="1200"/>
            <a:t>11/02/2026 </a:t>
          </a:r>
          <a:r>
            <a:rPr lang="en-GB" sz="1100" b="0" kern="1200"/>
            <a:t>– AEWG discussion</a:t>
          </a:r>
          <a:endParaRPr lang="en-US" sz="1100" b="0" kern="1200">
            <a:latin typeface="+mj-lt"/>
          </a:endParaRPr>
        </a:p>
      </dsp:txBody>
      <dsp:txXfrm rot="-5400000">
        <a:off x="313694" y="2338217"/>
        <a:ext cx="4490679" cy="262849"/>
      </dsp:txXfrm>
    </dsp:sp>
    <dsp:sp modelId="{F1BB2845-C484-4C40-B9EE-579CE9DAE195}">
      <dsp:nvSpPr>
        <dsp:cNvPr id="0" name=""/>
        <dsp:cNvSpPr/>
      </dsp:nvSpPr>
      <dsp:spPr>
        <a:xfrm rot="5400000">
          <a:off x="-67220" y="2778343"/>
          <a:ext cx="448135" cy="313694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latin typeface="+mj-lt"/>
          </a:endParaRPr>
        </a:p>
      </dsp:txBody>
      <dsp:txXfrm rot="-5400000">
        <a:off x="1" y="2867969"/>
        <a:ext cx="313694" cy="134441"/>
      </dsp:txXfrm>
    </dsp:sp>
    <dsp:sp modelId="{E2F1F927-C762-4ED8-B3A6-B1BD40340F07}">
      <dsp:nvSpPr>
        <dsp:cNvPr id="0" name=""/>
        <dsp:cNvSpPr/>
      </dsp:nvSpPr>
      <dsp:spPr>
        <a:xfrm rot="5400000">
          <a:off x="2420499" y="604318"/>
          <a:ext cx="291287" cy="450489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100" b="1" kern="1200"/>
            <a:t>25-26/02/2026 </a:t>
          </a:r>
          <a:r>
            <a:rPr lang="en-GB" sz="1100" b="0" kern="1200"/>
            <a:t>– Workshop with NRAs on draft assessment</a:t>
          </a:r>
          <a:endParaRPr lang="en-GB" sz="1100" b="0" kern="1200">
            <a:latin typeface="+mj-lt"/>
          </a:endParaRPr>
        </a:p>
      </dsp:txBody>
      <dsp:txXfrm rot="-5400000">
        <a:off x="313694" y="2725343"/>
        <a:ext cx="4490679" cy="262849"/>
      </dsp:txXfrm>
    </dsp:sp>
    <dsp:sp modelId="{0E1A0D45-57AF-48A9-879C-0560EF4A3FA1}">
      <dsp:nvSpPr>
        <dsp:cNvPr id="0" name=""/>
        <dsp:cNvSpPr/>
      </dsp:nvSpPr>
      <dsp:spPr>
        <a:xfrm rot="5400000">
          <a:off x="-67220" y="3165469"/>
          <a:ext cx="448135" cy="313694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latin typeface="+mj-lt"/>
          </a:endParaRPr>
        </a:p>
      </dsp:txBody>
      <dsp:txXfrm rot="-5400000">
        <a:off x="1" y="3255095"/>
        <a:ext cx="313694" cy="134441"/>
      </dsp:txXfrm>
    </dsp:sp>
    <dsp:sp modelId="{038BD40F-8A02-440F-8E41-7B8A688DA288}">
      <dsp:nvSpPr>
        <dsp:cNvPr id="0" name=""/>
        <dsp:cNvSpPr/>
      </dsp:nvSpPr>
      <dsp:spPr>
        <a:xfrm rot="5400000">
          <a:off x="2420499" y="991444"/>
          <a:ext cx="291287" cy="450489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1100" b="1" kern="1200">
              <a:solidFill>
                <a:schemeClr val="tx2"/>
              </a:solidFill>
            </a:rPr>
            <a:t>9 March 2026 – EU TF presentation; preliminary assessment</a:t>
          </a:r>
          <a:endParaRPr lang="en-GB" sz="1100" b="1" kern="1200">
            <a:solidFill>
              <a:schemeClr val="tx2"/>
            </a:solidFill>
            <a:latin typeface="+mj-lt"/>
          </a:endParaRPr>
        </a:p>
      </dsp:txBody>
      <dsp:txXfrm rot="-5400000">
        <a:off x="313694" y="3112469"/>
        <a:ext cx="4490679" cy="262849"/>
      </dsp:txXfrm>
    </dsp:sp>
    <dsp:sp modelId="{94BC9781-1C19-44A7-80F7-F8778F112E42}">
      <dsp:nvSpPr>
        <dsp:cNvPr id="0" name=""/>
        <dsp:cNvSpPr/>
      </dsp:nvSpPr>
      <dsp:spPr>
        <a:xfrm rot="5400000">
          <a:off x="-67220" y="3552595"/>
          <a:ext cx="448135" cy="313694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>
            <a:latin typeface="+mj-lt"/>
          </a:endParaRPr>
        </a:p>
      </dsp:txBody>
      <dsp:txXfrm rot="-5400000">
        <a:off x="1" y="3642221"/>
        <a:ext cx="313694" cy="134441"/>
      </dsp:txXfrm>
    </dsp:sp>
    <dsp:sp modelId="{AE2683D6-882C-47D3-83F3-31817BCDB32E}">
      <dsp:nvSpPr>
        <dsp:cNvPr id="0" name=""/>
        <dsp:cNvSpPr/>
      </dsp:nvSpPr>
      <dsp:spPr>
        <a:xfrm rot="5400000">
          <a:off x="2420499" y="1378570"/>
          <a:ext cx="291287" cy="450489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11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End-April 2026 </a:t>
          </a:r>
          <a:r>
            <a:rPr lang="en-GB" sz="1100" b="0" kern="120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– </a:t>
          </a:r>
          <a:r>
            <a:rPr lang="en-GB" sz="1100" b="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Delivery of final assessment</a:t>
          </a:r>
        </a:p>
      </dsp:txBody>
      <dsp:txXfrm rot="-5400000">
        <a:off x="313694" y="3499595"/>
        <a:ext cx="4490679" cy="2628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B2B42A-F003-7844-8052-5E3E1572E6B1}" type="datetimeFigureOut">
              <a:rPr lang="en-SI" smtClean="0"/>
              <a:t>02/05/2026</a:t>
            </a:fld>
            <a:endParaRPr lang="en-S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20490D-1782-EA44-A3A5-3F8539CC8581}" type="slidenum">
              <a:rPr lang="en-SI" smtClean="0"/>
              <a:t>‹#›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1369117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0490D-1782-EA44-A3A5-3F8539CC8581}" type="slidenum">
              <a:rPr lang="en-SI" smtClean="0"/>
              <a:t>2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15853626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0490D-1782-EA44-A3A5-3F8539CC8581}" type="slidenum">
              <a:rPr lang="en-SI" smtClean="0"/>
              <a:t>3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4189088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C342D6-AB1E-BEDB-A71D-4BD879E7D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336448-A5B0-58A5-E3DA-D33DB9C7C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1633F5-0279-D5B5-B54D-FCF1084C1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462A38-1A22-10ED-AFD5-C4CF5E14F7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0490D-1782-EA44-A3A5-3F8539CC8581}" type="slidenum">
              <a:rPr lang="en-SI" smtClean="0"/>
              <a:t>4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7937330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0490D-1782-EA44-A3A5-3F8539CC8581}" type="slidenum">
              <a:rPr lang="en-SI" smtClean="0"/>
              <a:t>6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3676204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0490D-1782-EA44-A3A5-3F8539CC8581}" type="slidenum">
              <a:rPr lang="en-SI" smtClean="0"/>
              <a:t>8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14407454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0490D-1782-EA44-A3A5-3F8539CC8581}" type="slidenum">
              <a:rPr lang="en-SI" smtClean="0"/>
              <a:t>11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16282815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0490D-1782-EA44-A3A5-3F8539CC8581}" type="slidenum">
              <a:rPr lang="en-SI" smtClean="0"/>
              <a:t>13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2679179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0490D-1782-EA44-A3A5-3F8539CC8581}" type="slidenum">
              <a:rPr lang="en-SI" smtClean="0"/>
              <a:t>18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52763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20490D-1782-EA44-A3A5-3F8539CC8581}" type="slidenum">
              <a:rPr lang="en-SI" smtClean="0"/>
              <a:t>19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1302367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cer.europa.eu/" TargetMode="External"/><Relationship Id="rId13" Type="http://schemas.openxmlformats.org/officeDocument/2006/relationships/hyperlink" Target="https://www.acer.europa.eu/the-agency/careers/vacancies" TargetMode="External"/><Relationship Id="rId3" Type="http://schemas.openxmlformats.org/officeDocument/2006/relationships/image" Target="../media/image1.png"/><Relationship Id="rId7" Type="http://schemas.openxmlformats.org/officeDocument/2006/relationships/hyperlink" Target="mailto:info@acer.europa.eu" TargetMode="External"/><Relationship Id="rId12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hyperlink" Target="https://si.linkedin.com/company/eu-acer" TargetMode="External"/><Relationship Id="rId5" Type="http://schemas.openxmlformats.org/officeDocument/2006/relationships/image" Target="../media/image10.png"/><Relationship Id="rId10" Type="http://schemas.openxmlformats.org/officeDocument/2006/relationships/hyperlink" Target="https://twitter.com/EU_ACER" TargetMode="External"/><Relationship Id="rId4" Type="http://schemas.openxmlformats.org/officeDocument/2006/relationships/image" Target="../media/image9.png"/><Relationship Id="rId9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9.png"/><Relationship Id="rId7" Type="http://schemas.openxmlformats.org/officeDocument/2006/relationships/hyperlink" Target="https://www.acer.europa.eu/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hyperlink" Target="mailto:info@acer.europa.eu" TargetMode="External"/><Relationship Id="rId5" Type="http://schemas.openxmlformats.org/officeDocument/2006/relationships/image" Target="../media/image11.png"/><Relationship Id="rId10" Type="http://schemas.openxmlformats.org/officeDocument/2006/relationships/hyperlink" Target="https://si.linkedin.com/company/eu-acer" TargetMode="External"/><Relationship Id="rId4" Type="http://schemas.openxmlformats.org/officeDocument/2006/relationships/image" Target="../media/image10.png"/><Relationship Id="rId9" Type="http://schemas.openxmlformats.org/officeDocument/2006/relationships/hyperlink" Target="https://twitter.com/EU_ACER" TargetMode="Externa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9.png"/><Relationship Id="rId7" Type="http://schemas.openxmlformats.org/officeDocument/2006/relationships/hyperlink" Target="https://www.acer.europa.eu/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hyperlink" Target="mailto:info@acer.europa.eu" TargetMode="External"/><Relationship Id="rId5" Type="http://schemas.openxmlformats.org/officeDocument/2006/relationships/image" Target="../media/image11.png"/><Relationship Id="rId10" Type="http://schemas.openxmlformats.org/officeDocument/2006/relationships/hyperlink" Target="https://si.linkedin.com/company/eu-acer" TargetMode="External"/><Relationship Id="rId4" Type="http://schemas.openxmlformats.org/officeDocument/2006/relationships/image" Target="../media/image10.png"/><Relationship Id="rId9" Type="http://schemas.openxmlformats.org/officeDocument/2006/relationships/hyperlink" Target="https://twitter.com/EU_ACER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7A1C639-99B2-4A4E-A848-FCDF8B8CE19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694D6CEC-7C5A-3644-8542-9DB48BE16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D035378-5C01-FC45-A1F5-C4ADE23D92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4A4C6FB-EF59-2346-BFA1-FB3C5245B1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7106"/>
            <a:ext cx="4411916" cy="2160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672E73E-3525-BB44-983C-F70D53BE1A0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A045888-6C49-FA42-9E30-31F472686958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A3E8283-122A-EE4D-BF9E-A311305585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77106"/>
            <a:ext cx="4411916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732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/>
        </p:nvSpPr>
        <p:spPr>
          <a:xfrm>
            <a:off x="-9524" y="1057274"/>
            <a:ext cx="12201524" cy="5224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6000" y="1057274"/>
            <a:ext cx="10800000" cy="3094314"/>
          </a:xfrm>
        </p:spPr>
        <p:txBody>
          <a:bodyPr anchor="ctr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96000" y="4410075"/>
            <a:ext cx="10800000" cy="147637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ection subtitle / 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/>
        </p:nvCxnSpPr>
        <p:spPr>
          <a:xfrm>
            <a:off x="696000" y="4166100"/>
            <a:ext cx="108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2857FDB7-1C3A-C549-A253-EB50D4889C5F}"/>
              </a:ext>
            </a:extLst>
          </p:cNvPr>
          <p:cNvSpPr/>
          <p:nvPr userDrawn="1"/>
        </p:nvSpPr>
        <p:spPr>
          <a:xfrm>
            <a:off x="-9524" y="1057274"/>
            <a:ext cx="12201524" cy="5224724"/>
          </a:xfrm>
          <a:prstGeom prst="rect">
            <a:avLst/>
          </a:prstGeom>
          <a:solidFill>
            <a:srgbClr val="3678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00337A-AC4A-D343-827D-292CAE51444C}"/>
              </a:ext>
            </a:extLst>
          </p:cNvPr>
          <p:cNvCxnSpPr>
            <a:cxnSpLocks/>
          </p:cNvCxnSpPr>
          <p:nvPr userDrawn="1"/>
        </p:nvCxnSpPr>
        <p:spPr>
          <a:xfrm>
            <a:off x="696000" y="4166100"/>
            <a:ext cx="108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4189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/>
        </p:nvSpPr>
        <p:spPr>
          <a:xfrm>
            <a:off x="0" y="1057274"/>
            <a:ext cx="12192000" cy="5224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6000" y="1057273"/>
            <a:ext cx="10800000" cy="3094314"/>
          </a:xfrm>
        </p:spPr>
        <p:txBody>
          <a:bodyPr anchor="ctr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96000" y="4410075"/>
            <a:ext cx="10776000" cy="147637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ection subtitle / 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/>
        </p:nvCxnSpPr>
        <p:spPr>
          <a:xfrm>
            <a:off x="696000" y="4166100"/>
            <a:ext cx="108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66E8835-A464-844A-9F9C-F68DF4DB45A8}"/>
              </a:ext>
            </a:extLst>
          </p:cNvPr>
          <p:cNvSpPr/>
          <p:nvPr userDrawn="1"/>
        </p:nvSpPr>
        <p:spPr>
          <a:xfrm>
            <a:off x="0" y="1057274"/>
            <a:ext cx="12192000" cy="5224724"/>
          </a:xfrm>
          <a:prstGeom prst="rect">
            <a:avLst/>
          </a:prstGeom>
          <a:solidFill>
            <a:srgbClr val="96CD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2149027-1E91-A641-9F78-DEE96BEF964E}"/>
              </a:ext>
            </a:extLst>
          </p:cNvPr>
          <p:cNvCxnSpPr>
            <a:cxnSpLocks/>
          </p:cNvCxnSpPr>
          <p:nvPr userDrawn="1"/>
        </p:nvCxnSpPr>
        <p:spPr>
          <a:xfrm>
            <a:off x="696000" y="4166100"/>
            <a:ext cx="108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30755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E226AE-EA6F-8E04-A71F-F8CF29FE20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2150" y="1419699"/>
            <a:ext cx="10794526" cy="44937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572446-B181-0CBD-2EE2-58A73F2D0F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675" y="6281998"/>
            <a:ext cx="10795000" cy="576002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5pPr marL="864000" indent="0">
              <a:buNone/>
              <a:defRPr/>
            </a:lvl5pPr>
          </a:lstStyle>
          <a:p>
            <a:pPr lvl="0"/>
            <a:r>
              <a:rPr lang="en-GB" sz="1000"/>
              <a:t>Note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01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06F9BC4-CF8C-772F-9195-B814823DA3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2148" y="1419225"/>
            <a:ext cx="5112000" cy="44937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3B23C84-6C45-F328-5274-82F5E437B8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4879" y="1419225"/>
            <a:ext cx="5111795" cy="449421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A43C831-5902-7C03-465A-7D4F43C5DB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675" y="6281998"/>
            <a:ext cx="10795000" cy="576002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5pPr marL="864000" indent="0">
              <a:buNone/>
              <a:defRPr/>
            </a:lvl5pPr>
          </a:lstStyle>
          <a:p>
            <a:pPr lvl="0"/>
            <a:r>
              <a:rPr lang="en-GB" sz="1000"/>
              <a:t>Note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87401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E5510D-5894-8F60-D6F3-33AF0FF0ED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5325" y="1412875"/>
            <a:ext cx="3365500" cy="45005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E2512C-21AA-E327-5D03-1A8133AB4E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7062" y="1419699"/>
            <a:ext cx="3305175" cy="45005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FE08F91-3F0D-F589-D0B0-A13BABD2C7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84000" y="1419698"/>
            <a:ext cx="3312000" cy="45005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A58DCCE-751B-B938-3B67-49ABF3AFEC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675" y="6281998"/>
            <a:ext cx="10795000" cy="576002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5pPr marL="864000" indent="0">
              <a:buNone/>
              <a:defRPr/>
            </a:lvl5pPr>
          </a:lstStyle>
          <a:p>
            <a:pPr lvl="0"/>
            <a:r>
              <a:rPr lang="en-GB" sz="1000"/>
              <a:t>Note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9227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BD817F-10FF-7F40-06F2-230C128282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2149" y="1419698"/>
            <a:ext cx="3365500" cy="44989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E635199-6F05-644F-3150-FD4678CFF3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7062" y="1419699"/>
            <a:ext cx="7056437" cy="45005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E52891B-56CE-F625-1329-1183C51165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675" y="6281998"/>
            <a:ext cx="10795000" cy="576002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5pPr marL="864000" indent="0">
              <a:buNone/>
              <a:defRPr/>
            </a:lvl5pPr>
          </a:lstStyle>
          <a:p>
            <a:pPr lvl="0"/>
            <a:r>
              <a:rPr lang="en-GB" sz="1000"/>
              <a:t>Note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547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8" userDrawn="1">
          <p15:clr>
            <a:srgbClr val="FBAE40"/>
          </p15:clr>
        </p15:guide>
        <p15:guide id="3" pos="724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BD817F-10FF-7F40-06F2-230C128282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31649" y="1424687"/>
            <a:ext cx="3365500" cy="44989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E635199-6F05-644F-3150-FD4678CFF3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1675" y="1419699"/>
            <a:ext cx="7056437" cy="45005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E52891B-56CE-F625-1329-1183C51165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675" y="6281998"/>
            <a:ext cx="10795000" cy="576002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5pPr marL="864000" indent="0">
              <a:buNone/>
              <a:defRPr/>
            </a:lvl5pPr>
          </a:lstStyle>
          <a:p>
            <a:pPr lvl="0"/>
            <a:r>
              <a:rPr lang="en-GB" sz="1000"/>
              <a:t>Note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3993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8" userDrawn="1">
          <p15:clr>
            <a:srgbClr val="FBAE40"/>
          </p15:clr>
        </p15:guide>
        <p15:guide id="3" pos="724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ACER Vacanc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/>
        </p:nvSpPr>
        <p:spPr>
          <a:xfrm>
            <a:off x="-9524" y="0"/>
            <a:ext cx="12201524" cy="5362575"/>
          </a:xfrm>
          <a:prstGeom prst="rect">
            <a:avLst/>
          </a:prstGeom>
          <a:solidFill>
            <a:srgbClr val="3678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 descr="A bright light in the dark&#10;&#10;Description automatically generated">
            <a:extLst>
              <a:ext uri="{FF2B5EF4-FFF2-40B4-BE49-F238E27FC236}">
                <a16:creationId xmlns:a16="http://schemas.microsoft.com/office/drawing/2014/main" id="{69271CE8-BA44-0305-7390-F6BFE747AE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4106" b="19048"/>
          <a:stretch/>
        </p:blipFill>
        <p:spPr>
          <a:xfrm>
            <a:off x="6358727" y="118270"/>
            <a:ext cx="5833270" cy="45807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6000" y="1057274"/>
            <a:ext cx="10800000" cy="3094314"/>
          </a:xfrm>
        </p:spPr>
        <p:txBody>
          <a:bodyPr anchor="ctr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.</a:t>
            </a:r>
            <a:br>
              <a:rPr lang="en-GB"/>
            </a:br>
            <a:r>
              <a:rPr lang="en-GB"/>
              <a:t>Any questions?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F1D9E9-0C93-624B-9861-30471BCD6B8F}"/>
              </a:ext>
            </a:extLst>
          </p:cNvPr>
          <p:cNvSpPr/>
          <p:nvPr userDrawn="1"/>
        </p:nvSpPr>
        <p:spPr>
          <a:xfrm>
            <a:off x="-9524" y="4698000"/>
            <a:ext cx="12200400" cy="21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A9C4BA8-0AF4-D648-AE98-33A2D2A473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698000"/>
            <a:ext cx="4411916" cy="216000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B12CBEB-0DAC-8F4B-9A0A-2BFD123ED617}"/>
              </a:ext>
            </a:extLst>
          </p:cNvPr>
          <p:cNvCxnSpPr/>
          <p:nvPr/>
        </p:nvCxnSpPr>
        <p:spPr>
          <a:xfrm>
            <a:off x="4411916" y="5219700"/>
            <a:ext cx="0" cy="110308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EC4F1F8D-6A04-F7BD-FB1E-02CD5F52A6E0}"/>
              </a:ext>
            </a:extLst>
          </p:cNvPr>
          <p:cNvSpPr txBox="1">
            <a:spLocks/>
          </p:cNvSpPr>
          <p:nvPr userDrawn="1"/>
        </p:nvSpPr>
        <p:spPr>
          <a:xfrm>
            <a:off x="9019848" y="5800726"/>
            <a:ext cx="2747156" cy="52205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i="0" kern="1200" spc="-15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en-GB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@</a:t>
            </a:r>
            <a:r>
              <a:rPr lang="en-GB" sz="1300" spc="0" err="1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eu_acer</a:t>
            </a:r>
            <a:endParaRPr lang="en-GB" sz="1300" spc="0"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</a:pPr>
            <a:r>
              <a:rPr lang="en-GB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linkedin.com/company/</a:t>
            </a:r>
            <a:r>
              <a:rPr lang="sl-SI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eu</a:t>
            </a:r>
            <a:r>
              <a:rPr lang="en-GB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-</a:t>
            </a:r>
            <a:r>
              <a:rPr lang="sl-SI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acer</a:t>
            </a:r>
            <a:endParaRPr lang="en-GB" sz="1300" spc="0"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B1C5CD0-60DE-4903-A668-5BDD545C7A18}"/>
              </a:ext>
            </a:extLst>
          </p:cNvPr>
          <p:cNvGrpSpPr/>
          <p:nvPr userDrawn="1"/>
        </p:nvGrpSpPr>
        <p:grpSpPr>
          <a:xfrm>
            <a:off x="5993437" y="5800726"/>
            <a:ext cx="2563387" cy="529025"/>
            <a:chOff x="6806479" y="5800726"/>
            <a:chExt cx="2563387" cy="529025"/>
          </a:xfrm>
        </p:grpSpPr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AB1F54ED-67EF-C16A-BE17-DB8FC07C4E5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62279" y="5800726"/>
              <a:ext cx="2307587" cy="522056"/>
            </a:xfrm>
            <a:prstGeom prst="rect">
              <a:avLst/>
            </a:prstGeom>
          </p:spPr>
          <p:txBody>
            <a:bodyPr vert="horz" lIns="0" tIns="0" rIns="0" bIns="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500" b="0" i="0" kern="1200" spc="-150">
                  <a:solidFill>
                    <a:schemeClr val="tx1"/>
                  </a:solidFill>
                  <a:latin typeface="Inter" panose="020B0502030000000004" pitchFamily="34" charset="0"/>
                  <a:ea typeface="Inter" panose="020B0502030000000004" pitchFamily="34" charset="0"/>
                  <a:cs typeface="Inter" panose="020B0502030000000004" pitchFamily="34" charset="0"/>
                </a:defRPr>
              </a:lvl1pPr>
            </a:lstStyle>
            <a:p>
              <a:pPr>
                <a:lnSpc>
                  <a:spcPts val="1800"/>
                </a:lnSpc>
              </a:pPr>
              <a:r>
                <a:rPr lang="en-GB" sz="1300" u="none" spc="0" err="1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info@acer.europa.eu</a:t>
              </a:r>
              <a:endParaRPr lang="en-GB" sz="1300" u="none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  <a:p>
              <a:pPr>
                <a:lnSpc>
                  <a:spcPts val="1800"/>
                </a:lnSpc>
              </a:pPr>
              <a:r>
                <a:rPr lang="en-GB" sz="1300" spc="0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acer.europa.eu</a:t>
              </a:r>
              <a:endParaRPr lang="en-SI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8816656-D67F-45E6-4ED8-BB5CA6701B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08398" y="5925525"/>
              <a:ext cx="180000" cy="18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D1B88CA-E5E0-282A-8F07-9F75DEAC52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806479" y="6149751"/>
              <a:ext cx="180000" cy="180000"/>
            </a:xfrm>
            <a:prstGeom prst="rect">
              <a:avLst/>
            </a:prstGeom>
          </p:spPr>
        </p:pic>
      </p:grpSp>
      <p:pic>
        <p:nvPicPr>
          <p:cNvPr id="16" name="Picture 15" descr="A blue x on a black background&#10;&#10;Description automatically generated">
            <a:extLst>
              <a:ext uri="{FF2B5EF4-FFF2-40B4-BE49-F238E27FC236}">
                <a16:creationId xmlns:a16="http://schemas.microsoft.com/office/drawing/2014/main" id="{77273225-559F-A4F8-318A-C3FC452C292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81798" y="5932671"/>
            <a:ext cx="155038" cy="158526"/>
          </a:xfrm>
          <a:prstGeom prst="rect">
            <a:avLst/>
          </a:prstGeom>
        </p:spPr>
      </p:pic>
      <p:sp>
        <p:nvSpPr>
          <p:cNvPr id="18" name="Rectangle 17">
            <a:hlinkClick r:id="rId7"/>
            <a:extLst>
              <a:ext uri="{FF2B5EF4-FFF2-40B4-BE49-F238E27FC236}">
                <a16:creationId xmlns:a16="http://schemas.microsoft.com/office/drawing/2014/main" id="{828AE29B-B177-153A-29B9-33BF40CB0789}"/>
              </a:ext>
            </a:extLst>
          </p:cNvPr>
          <p:cNvSpPr/>
          <p:nvPr userDrawn="1"/>
        </p:nvSpPr>
        <p:spPr>
          <a:xfrm>
            <a:off x="5959475" y="5925525"/>
            <a:ext cx="1892299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  <a:extLst>
              <a:ext uri="{FF2B5EF4-FFF2-40B4-BE49-F238E27FC236}">
                <a16:creationId xmlns:a16="http://schemas.microsoft.com/office/drawing/2014/main" id="{19F1626E-8FCA-4B04-ABBA-5FFDEF995347}"/>
              </a:ext>
            </a:extLst>
          </p:cNvPr>
          <p:cNvSpPr/>
          <p:nvPr userDrawn="1"/>
        </p:nvSpPr>
        <p:spPr>
          <a:xfrm>
            <a:off x="5998440" y="6157110"/>
            <a:ext cx="1383436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F80A4FF-6690-55FF-FD64-A1AA0FF817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r="12743"/>
          <a:stretch/>
        </p:blipFill>
        <p:spPr>
          <a:xfrm>
            <a:off x="8781798" y="6144981"/>
            <a:ext cx="181555" cy="175836"/>
          </a:xfrm>
          <a:prstGeom prst="rect">
            <a:avLst/>
          </a:prstGeom>
        </p:spPr>
      </p:pic>
      <p:sp>
        <p:nvSpPr>
          <p:cNvPr id="22" name="Rectangle 21">
            <a:hlinkClick r:id="rId10"/>
            <a:extLst>
              <a:ext uri="{FF2B5EF4-FFF2-40B4-BE49-F238E27FC236}">
                <a16:creationId xmlns:a16="http://schemas.microsoft.com/office/drawing/2014/main" id="{2812435B-E248-E899-B2DF-788C86333D62}"/>
              </a:ext>
            </a:extLst>
          </p:cNvPr>
          <p:cNvSpPr/>
          <p:nvPr userDrawn="1"/>
        </p:nvSpPr>
        <p:spPr>
          <a:xfrm>
            <a:off x="8781798" y="5930057"/>
            <a:ext cx="1060702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hlinkClick r:id="rId11"/>
            <a:extLst>
              <a:ext uri="{FF2B5EF4-FFF2-40B4-BE49-F238E27FC236}">
                <a16:creationId xmlns:a16="http://schemas.microsoft.com/office/drawing/2014/main" id="{F41C04BB-ADE7-5B91-5B50-E540BB16B5B7}"/>
              </a:ext>
            </a:extLst>
          </p:cNvPr>
          <p:cNvSpPr/>
          <p:nvPr userDrawn="1"/>
        </p:nvSpPr>
        <p:spPr>
          <a:xfrm>
            <a:off x="8781798" y="6137051"/>
            <a:ext cx="2502151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80A14BB-2679-F3DD-A36D-44B2E0CB7742}"/>
              </a:ext>
            </a:extLst>
          </p:cNvPr>
          <p:cNvGrpSpPr/>
          <p:nvPr userDrawn="1"/>
        </p:nvGrpSpPr>
        <p:grpSpPr>
          <a:xfrm>
            <a:off x="7965692" y="0"/>
            <a:ext cx="4048125" cy="4129420"/>
            <a:chOff x="7699684" y="-5809"/>
            <a:chExt cx="4048125" cy="412942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A281CAB-D855-05CB-DA50-AD6F60511629}"/>
                </a:ext>
              </a:extLst>
            </p:cNvPr>
            <p:cNvGrpSpPr/>
            <p:nvPr/>
          </p:nvGrpSpPr>
          <p:grpSpPr>
            <a:xfrm>
              <a:off x="8897510" y="0"/>
              <a:ext cx="1887489" cy="3652156"/>
              <a:chOff x="8897510" y="0"/>
              <a:chExt cx="1887489" cy="3652156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89FA348-F868-163C-0A2E-5EF7BB226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828167" y="0"/>
                <a:ext cx="0" cy="2070100"/>
              </a:xfrm>
              <a:prstGeom prst="line">
                <a:avLst/>
              </a:prstGeom>
              <a:ln w="38100">
                <a:solidFill>
                  <a:srgbClr val="96999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7" name="Picture 16" descr="A light bulb with a silver cap&#10;&#10;Description automatically generated">
                <a:extLst>
                  <a:ext uri="{FF2B5EF4-FFF2-40B4-BE49-F238E27FC236}">
                    <a16:creationId xmlns:a16="http://schemas.microsoft.com/office/drawing/2014/main" id="{45CCA183-CA4B-AD2F-140F-73E03B2829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897510" y="1017478"/>
                <a:ext cx="1887489" cy="2634678"/>
              </a:xfrm>
              <a:prstGeom prst="rect">
                <a:avLst/>
              </a:prstGeom>
            </p:spPr>
          </p:pic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C0E9D9E5-6F51-9DF3-9D04-215E3B55A4C9}"/>
                  </a:ext>
                </a:extLst>
              </p:cNvPr>
              <p:cNvSpPr/>
              <p:nvPr/>
            </p:nvSpPr>
            <p:spPr>
              <a:xfrm>
                <a:off x="9178096" y="2436336"/>
                <a:ext cx="1307265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sl-SI" sz="1200" b="1">
                    <a:solidFill>
                      <a:srgbClr val="3678BD"/>
                    </a:solidFill>
                  </a:rPr>
                  <a:t>ACER is hiring!</a:t>
                </a:r>
                <a:br>
                  <a:rPr lang="sl-SI" sz="1200" b="1">
                    <a:solidFill>
                      <a:srgbClr val="3678BD"/>
                    </a:solidFill>
                  </a:rPr>
                </a:br>
                <a:br>
                  <a:rPr lang="sl-SI" sz="500" b="1">
                    <a:solidFill>
                      <a:srgbClr val="3678BD"/>
                    </a:solidFill>
                  </a:rPr>
                </a:br>
                <a:r>
                  <a:rPr lang="sl-SI" sz="1200" b="1">
                    <a:solidFill>
                      <a:srgbClr val="3678BD"/>
                    </a:solidFill>
                  </a:rPr>
                  <a:t>Visit our</a:t>
                </a:r>
                <a:br>
                  <a:rPr lang="sl-SI" sz="1200" b="1">
                    <a:solidFill>
                      <a:srgbClr val="3678BD"/>
                    </a:solidFill>
                  </a:rPr>
                </a:br>
                <a:r>
                  <a:rPr lang="sl-SI" sz="1200" b="1">
                    <a:solidFill>
                      <a:srgbClr val="3678BD"/>
                    </a:solidFill>
                  </a:rPr>
                  <a:t>vacancies page.</a:t>
                </a:r>
                <a:endParaRPr lang="en-GB" sz="1200" b="1">
                  <a:solidFill>
                    <a:srgbClr val="3678BD"/>
                  </a:solidFill>
                </a:endParaRPr>
              </a:p>
            </p:txBody>
          </p:sp>
        </p:grpSp>
        <p:sp>
          <p:nvSpPr>
            <p:cNvPr id="14" name="Rectangle 13">
              <a:hlinkClick r:id="rId13"/>
              <a:extLst>
                <a:ext uri="{FF2B5EF4-FFF2-40B4-BE49-F238E27FC236}">
                  <a16:creationId xmlns:a16="http://schemas.microsoft.com/office/drawing/2014/main" id="{5A6A5C22-78B5-4619-73E4-C4E79512D34A}"/>
                </a:ext>
              </a:extLst>
            </p:cNvPr>
            <p:cNvSpPr/>
            <p:nvPr/>
          </p:nvSpPr>
          <p:spPr>
            <a:xfrm>
              <a:off x="7699684" y="-5809"/>
              <a:ext cx="4048125" cy="41294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noFill/>
              </a:endParaRPr>
            </a:p>
          </p:txBody>
        </p:sp>
      </p:grpSp>
      <p:sp>
        <p:nvSpPr>
          <p:cNvPr id="25" name="Rectangle 24">
            <a:hlinkClick r:id="rId13"/>
            <a:extLst>
              <a:ext uri="{FF2B5EF4-FFF2-40B4-BE49-F238E27FC236}">
                <a16:creationId xmlns:a16="http://schemas.microsoft.com/office/drawing/2014/main" id="{6EB01A4E-1E75-F066-F01C-3348107FABC3}"/>
              </a:ext>
            </a:extLst>
          </p:cNvPr>
          <p:cNvSpPr/>
          <p:nvPr userDrawn="1"/>
        </p:nvSpPr>
        <p:spPr>
          <a:xfrm>
            <a:off x="7957390" y="-1953"/>
            <a:ext cx="4216400" cy="47026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388435303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/>
        </p:nvSpPr>
        <p:spPr>
          <a:xfrm>
            <a:off x="-9524" y="0"/>
            <a:ext cx="12201524" cy="5362575"/>
          </a:xfrm>
          <a:prstGeom prst="rect">
            <a:avLst/>
          </a:prstGeom>
          <a:solidFill>
            <a:srgbClr val="3678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6000" y="1057274"/>
            <a:ext cx="10800000" cy="3094314"/>
          </a:xfrm>
        </p:spPr>
        <p:txBody>
          <a:bodyPr anchor="ctr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.</a:t>
            </a:r>
            <a:br>
              <a:rPr lang="en-GB"/>
            </a:br>
            <a:r>
              <a:rPr lang="en-GB"/>
              <a:t>Any questions?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F1D9E9-0C93-624B-9861-30471BCD6B8F}"/>
              </a:ext>
            </a:extLst>
          </p:cNvPr>
          <p:cNvSpPr/>
          <p:nvPr userDrawn="1"/>
        </p:nvSpPr>
        <p:spPr>
          <a:xfrm>
            <a:off x="-9524" y="4698000"/>
            <a:ext cx="12200400" cy="21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A9C4BA8-0AF4-D648-AE98-33A2D2A473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98000"/>
            <a:ext cx="4411916" cy="216000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B12CBEB-0DAC-8F4B-9A0A-2BFD123ED617}"/>
              </a:ext>
            </a:extLst>
          </p:cNvPr>
          <p:cNvCxnSpPr/>
          <p:nvPr/>
        </p:nvCxnSpPr>
        <p:spPr>
          <a:xfrm>
            <a:off x="4411916" y="5219700"/>
            <a:ext cx="0" cy="110308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EC4F1F8D-6A04-F7BD-FB1E-02CD5F52A6E0}"/>
              </a:ext>
            </a:extLst>
          </p:cNvPr>
          <p:cNvSpPr txBox="1">
            <a:spLocks/>
          </p:cNvSpPr>
          <p:nvPr userDrawn="1"/>
        </p:nvSpPr>
        <p:spPr>
          <a:xfrm>
            <a:off x="9019848" y="5800726"/>
            <a:ext cx="2747156" cy="52205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i="0" kern="1200" spc="-15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en-GB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@</a:t>
            </a:r>
            <a:r>
              <a:rPr lang="en-GB" sz="1300" spc="0" err="1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eu_acer</a:t>
            </a:r>
            <a:endParaRPr lang="en-GB" sz="1300" spc="0"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</a:pPr>
            <a:r>
              <a:rPr lang="en-GB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linkedin.com/company/</a:t>
            </a:r>
            <a:r>
              <a:rPr lang="sl-SI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eu</a:t>
            </a:r>
            <a:r>
              <a:rPr lang="en-GB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-</a:t>
            </a:r>
            <a:r>
              <a:rPr lang="sl-SI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acer</a:t>
            </a:r>
            <a:endParaRPr lang="en-GB" sz="1300" spc="0"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B1C5CD0-60DE-4903-A668-5BDD545C7A18}"/>
              </a:ext>
            </a:extLst>
          </p:cNvPr>
          <p:cNvGrpSpPr/>
          <p:nvPr userDrawn="1"/>
        </p:nvGrpSpPr>
        <p:grpSpPr>
          <a:xfrm>
            <a:off x="5993437" y="5800726"/>
            <a:ext cx="2563387" cy="529025"/>
            <a:chOff x="6806479" y="5800726"/>
            <a:chExt cx="2563387" cy="529025"/>
          </a:xfrm>
        </p:grpSpPr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AB1F54ED-67EF-C16A-BE17-DB8FC07C4E5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62279" y="5800726"/>
              <a:ext cx="2307587" cy="522056"/>
            </a:xfrm>
            <a:prstGeom prst="rect">
              <a:avLst/>
            </a:prstGeom>
          </p:spPr>
          <p:txBody>
            <a:bodyPr vert="horz" lIns="0" tIns="0" rIns="0" bIns="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500" b="0" i="0" kern="1200" spc="-150">
                  <a:solidFill>
                    <a:schemeClr val="tx1"/>
                  </a:solidFill>
                  <a:latin typeface="Inter" panose="020B0502030000000004" pitchFamily="34" charset="0"/>
                  <a:ea typeface="Inter" panose="020B0502030000000004" pitchFamily="34" charset="0"/>
                  <a:cs typeface="Inter" panose="020B0502030000000004" pitchFamily="34" charset="0"/>
                </a:defRPr>
              </a:lvl1pPr>
            </a:lstStyle>
            <a:p>
              <a:pPr>
                <a:lnSpc>
                  <a:spcPts val="1800"/>
                </a:lnSpc>
              </a:pPr>
              <a:r>
                <a:rPr lang="en-GB" sz="1300" u="none" spc="0" err="1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info@acer.europa.eu</a:t>
              </a:r>
              <a:endParaRPr lang="en-GB" sz="1300" u="none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  <a:p>
              <a:pPr>
                <a:lnSpc>
                  <a:spcPts val="1800"/>
                </a:lnSpc>
              </a:pPr>
              <a:r>
                <a:rPr lang="en-GB" sz="1300" spc="0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acer.europa.eu</a:t>
              </a:r>
              <a:endParaRPr lang="en-SI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8816656-D67F-45E6-4ED8-BB5CA6701B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808398" y="5925525"/>
              <a:ext cx="180000" cy="18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D1B88CA-E5E0-282A-8F07-9F75DEAC52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06479" y="6149751"/>
              <a:ext cx="180000" cy="180000"/>
            </a:xfrm>
            <a:prstGeom prst="rect">
              <a:avLst/>
            </a:prstGeom>
          </p:spPr>
        </p:pic>
      </p:grpSp>
      <p:pic>
        <p:nvPicPr>
          <p:cNvPr id="16" name="Picture 15" descr="A blue x on a black background&#10;&#10;Description automatically generated">
            <a:extLst>
              <a:ext uri="{FF2B5EF4-FFF2-40B4-BE49-F238E27FC236}">
                <a16:creationId xmlns:a16="http://schemas.microsoft.com/office/drawing/2014/main" id="{77273225-559F-A4F8-318A-C3FC452C292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781798" y="5932671"/>
            <a:ext cx="155038" cy="158526"/>
          </a:xfrm>
          <a:prstGeom prst="rect">
            <a:avLst/>
          </a:prstGeom>
        </p:spPr>
      </p:pic>
      <p:sp>
        <p:nvSpPr>
          <p:cNvPr id="18" name="Rectangle 17">
            <a:hlinkClick r:id="rId6"/>
            <a:extLst>
              <a:ext uri="{FF2B5EF4-FFF2-40B4-BE49-F238E27FC236}">
                <a16:creationId xmlns:a16="http://schemas.microsoft.com/office/drawing/2014/main" id="{828AE29B-B177-153A-29B9-33BF40CB0789}"/>
              </a:ext>
            </a:extLst>
          </p:cNvPr>
          <p:cNvSpPr/>
          <p:nvPr userDrawn="1"/>
        </p:nvSpPr>
        <p:spPr>
          <a:xfrm>
            <a:off x="5959475" y="5925525"/>
            <a:ext cx="1892299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7"/>
            <a:extLst>
              <a:ext uri="{FF2B5EF4-FFF2-40B4-BE49-F238E27FC236}">
                <a16:creationId xmlns:a16="http://schemas.microsoft.com/office/drawing/2014/main" id="{19F1626E-8FCA-4B04-ABBA-5FFDEF995347}"/>
              </a:ext>
            </a:extLst>
          </p:cNvPr>
          <p:cNvSpPr/>
          <p:nvPr userDrawn="1"/>
        </p:nvSpPr>
        <p:spPr>
          <a:xfrm>
            <a:off x="5998440" y="6157110"/>
            <a:ext cx="1383436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F80A4FF-6690-55FF-FD64-A1AA0FF817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12743"/>
          <a:stretch/>
        </p:blipFill>
        <p:spPr>
          <a:xfrm>
            <a:off x="8781798" y="6144981"/>
            <a:ext cx="181555" cy="175836"/>
          </a:xfrm>
          <a:prstGeom prst="rect">
            <a:avLst/>
          </a:prstGeom>
        </p:spPr>
      </p:pic>
      <p:sp>
        <p:nvSpPr>
          <p:cNvPr id="22" name="Rectangle 21">
            <a:hlinkClick r:id="rId9"/>
            <a:extLst>
              <a:ext uri="{FF2B5EF4-FFF2-40B4-BE49-F238E27FC236}">
                <a16:creationId xmlns:a16="http://schemas.microsoft.com/office/drawing/2014/main" id="{2812435B-E248-E899-B2DF-788C86333D62}"/>
              </a:ext>
            </a:extLst>
          </p:cNvPr>
          <p:cNvSpPr/>
          <p:nvPr userDrawn="1"/>
        </p:nvSpPr>
        <p:spPr>
          <a:xfrm>
            <a:off x="8781798" y="5930057"/>
            <a:ext cx="1060702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hlinkClick r:id="rId10"/>
            <a:extLst>
              <a:ext uri="{FF2B5EF4-FFF2-40B4-BE49-F238E27FC236}">
                <a16:creationId xmlns:a16="http://schemas.microsoft.com/office/drawing/2014/main" id="{F41C04BB-ADE7-5B91-5B50-E540BB16B5B7}"/>
              </a:ext>
            </a:extLst>
          </p:cNvPr>
          <p:cNvSpPr/>
          <p:nvPr userDrawn="1"/>
        </p:nvSpPr>
        <p:spPr>
          <a:xfrm>
            <a:off x="8781798" y="6137051"/>
            <a:ext cx="2502151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36657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 userDrawn="1"/>
        </p:nvSpPr>
        <p:spPr>
          <a:xfrm>
            <a:off x="-9524" y="0"/>
            <a:ext cx="12201524" cy="5362575"/>
          </a:xfrm>
          <a:prstGeom prst="rect">
            <a:avLst/>
          </a:prstGeom>
          <a:solidFill>
            <a:srgbClr val="3678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F1D9E9-0C93-624B-9861-30471BCD6B8F}"/>
              </a:ext>
            </a:extLst>
          </p:cNvPr>
          <p:cNvSpPr/>
          <p:nvPr userDrawn="1"/>
        </p:nvSpPr>
        <p:spPr>
          <a:xfrm>
            <a:off x="-9524" y="4698000"/>
            <a:ext cx="12200400" cy="21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A9C4BA8-0AF4-D648-AE98-33A2D2A473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698000"/>
            <a:ext cx="4411916" cy="21600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31CC2A2B-06F1-9C48-A629-7933E41A0098}"/>
              </a:ext>
            </a:extLst>
          </p:cNvPr>
          <p:cNvSpPr txBox="1">
            <a:spLocks/>
          </p:cNvSpPr>
          <p:nvPr userDrawn="1"/>
        </p:nvSpPr>
        <p:spPr>
          <a:xfrm>
            <a:off x="9019848" y="5800726"/>
            <a:ext cx="2747156" cy="52205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i="0" kern="1200" spc="-15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en-GB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@</a:t>
            </a:r>
            <a:r>
              <a:rPr lang="en-GB" sz="1300" spc="0" err="1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eu_acer</a:t>
            </a:r>
            <a:endParaRPr lang="en-GB" sz="1300" spc="0"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</a:pPr>
            <a:r>
              <a:rPr lang="en-GB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linkedin.com/company/</a:t>
            </a:r>
            <a:r>
              <a:rPr lang="sl-SI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eu</a:t>
            </a:r>
            <a:r>
              <a:rPr lang="en-GB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-</a:t>
            </a:r>
            <a:r>
              <a:rPr lang="sl-SI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acer</a:t>
            </a:r>
            <a:endParaRPr lang="en-GB" sz="1300" spc="0"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B12CBEB-0DAC-8F4B-9A0A-2BFD123ED617}"/>
              </a:ext>
            </a:extLst>
          </p:cNvPr>
          <p:cNvCxnSpPr/>
          <p:nvPr userDrawn="1"/>
        </p:nvCxnSpPr>
        <p:spPr>
          <a:xfrm>
            <a:off x="4411916" y="5219700"/>
            <a:ext cx="0" cy="110308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A8885DA4-0882-6640-9254-F39276BB7056}"/>
              </a:ext>
            </a:extLst>
          </p:cNvPr>
          <p:cNvGrpSpPr/>
          <p:nvPr userDrawn="1"/>
        </p:nvGrpSpPr>
        <p:grpSpPr>
          <a:xfrm>
            <a:off x="5993437" y="5800726"/>
            <a:ext cx="2563387" cy="529025"/>
            <a:chOff x="6806479" y="5800726"/>
            <a:chExt cx="2563387" cy="529025"/>
          </a:xfrm>
        </p:grpSpPr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001696BD-2EC4-194B-A7B8-62A129E01F6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62279" y="5800726"/>
              <a:ext cx="2307587" cy="522056"/>
            </a:xfrm>
            <a:prstGeom prst="rect">
              <a:avLst/>
            </a:prstGeom>
          </p:spPr>
          <p:txBody>
            <a:bodyPr vert="horz" lIns="0" tIns="0" rIns="0" bIns="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500" b="0" i="0" kern="1200" spc="-150">
                  <a:solidFill>
                    <a:schemeClr val="tx1"/>
                  </a:solidFill>
                  <a:latin typeface="Inter" panose="020B0502030000000004" pitchFamily="34" charset="0"/>
                  <a:ea typeface="Inter" panose="020B0502030000000004" pitchFamily="34" charset="0"/>
                  <a:cs typeface="Inter" panose="020B0502030000000004" pitchFamily="34" charset="0"/>
                </a:defRPr>
              </a:lvl1pPr>
            </a:lstStyle>
            <a:p>
              <a:pPr>
                <a:lnSpc>
                  <a:spcPts val="1800"/>
                </a:lnSpc>
              </a:pPr>
              <a:r>
                <a:rPr lang="en-GB" sz="1300" u="none" spc="0" err="1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info@acer.europa.eu</a:t>
              </a:r>
              <a:endParaRPr lang="en-GB" sz="1300" u="none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  <a:p>
              <a:pPr>
                <a:lnSpc>
                  <a:spcPts val="1800"/>
                </a:lnSpc>
              </a:pPr>
              <a:r>
                <a:rPr lang="en-GB" sz="1300" spc="0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acer.europa.eu</a:t>
              </a:r>
              <a:endParaRPr lang="en-SI" sz="130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6AEEF0F-3AEB-C345-8CAB-7C7FCCF315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808398" y="5925525"/>
              <a:ext cx="180000" cy="18000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CA2645C-0119-3745-BB46-C257A4A0C8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06479" y="6149751"/>
              <a:ext cx="180000" cy="180000"/>
            </a:xfrm>
            <a:prstGeom prst="rect">
              <a:avLst/>
            </a:prstGeom>
          </p:spPr>
        </p:pic>
      </p:grpSp>
      <p:pic>
        <p:nvPicPr>
          <p:cNvPr id="36" name="Picture 35" descr="A blue x on a black background&#10;&#10;Description automatically generated">
            <a:extLst>
              <a:ext uri="{FF2B5EF4-FFF2-40B4-BE49-F238E27FC236}">
                <a16:creationId xmlns:a16="http://schemas.microsoft.com/office/drawing/2014/main" id="{9966479A-A9CC-2211-6CE6-9DC3428213B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781798" y="5932671"/>
            <a:ext cx="155038" cy="158526"/>
          </a:xfrm>
          <a:prstGeom prst="rect">
            <a:avLst/>
          </a:prstGeom>
        </p:spPr>
      </p:pic>
      <p:sp>
        <p:nvSpPr>
          <p:cNvPr id="37" name="Rectangle 36">
            <a:hlinkClick r:id="rId6"/>
            <a:extLst>
              <a:ext uri="{FF2B5EF4-FFF2-40B4-BE49-F238E27FC236}">
                <a16:creationId xmlns:a16="http://schemas.microsoft.com/office/drawing/2014/main" id="{92BB9A27-A91C-D47A-4547-95F98099B144}"/>
              </a:ext>
            </a:extLst>
          </p:cNvPr>
          <p:cNvSpPr/>
          <p:nvPr userDrawn="1"/>
        </p:nvSpPr>
        <p:spPr>
          <a:xfrm>
            <a:off x="5959475" y="5925525"/>
            <a:ext cx="1892299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hlinkClick r:id="rId7"/>
            <a:extLst>
              <a:ext uri="{FF2B5EF4-FFF2-40B4-BE49-F238E27FC236}">
                <a16:creationId xmlns:a16="http://schemas.microsoft.com/office/drawing/2014/main" id="{5B81A450-0531-5133-21AD-57109FEE8FAF}"/>
              </a:ext>
            </a:extLst>
          </p:cNvPr>
          <p:cNvSpPr/>
          <p:nvPr userDrawn="1"/>
        </p:nvSpPr>
        <p:spPr>
          <a:xfrm>
            <a:off x="5998440" y="6157110"/>
            <a:ext cx="1383436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1" name="Picture 40" descr="Icon&#10;&#10;Description automatically generated">
            <a:extLst>
              <a:ext uri="{FF2B5EF4-FFF2-40B4-BE49-F238E27FC236}">
                <a16:creationId xmlns:a16="http://schemas.microsoft.com/office/drawing/2014/main" id="{62395AA7-39B4-610C-D531-619C75175B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12743"/>
          <a:stretch/>
        </p:blipFill>
        <p:spPr>
          <a:xfrm>
            <a:off x="8781798" y="6144981"/>
            <a:ext cx="181555" cy="175836"/>
          </a:xfrm>
          <a:prstGeom prst="rect">
            <a:avLst/>
          </a:prstGeom>
        </p:spPr>
      </p:pic>
      <p:sp>
        <p:nvSpPr>
          <p:cNvPr id="42" name="Rectangle 41">
            <a:hlinkClick r:id="rId9"/>
            <a:extLst>
              <a:ext uri="{FF2B5EF4-FFF2-40B4-BE49-F238E27FC236}">
                <a16:creationId xmlns:a16="http://schemas.microsoft.com/office/drawing/2014/main" id="{7A8A3D78-B013-C17E-FDC2-3F5A94828EE8}"/>
              </a:ext>
            </a:extLst>
          </p:cNvPr>
          <p:cNvSpPr/>
          <p:nvPr userDrawn="1"/>
        </p:nvSpPr>
        <p:spPr>
          <a:xfrm>
            <a:off x="8781798" y="5930057"/>
            <a:ext cx="1060702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Rectangle 42">
            <a:hlinkClick r:id="rId10"/>
            <a:extLst>
              <a:ext uri="{FF2B5EF4-FFF2-40B4-BE49-F238E27FC236}">
                <a16:creationId xmlns:a16="http://schemas.microsoft.com/office/drawing/2014/main" id="{2E8A56FA-7FF1-5669-1827-A958CE62CD8E}"/>
              </a:ext>
            </a:extLst>
          </p:cNvPr>
          <p:cNvSpPr/>
          <p:nvPr userDrawn="1"/>
        </p:nvSpPr>
        <p:spPr>
          <a:xfrm>
            <a:off x="8781798" y="6137051"/>
            <a:ext cx="2502151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2982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E58104-D31B-2A46-9D9A-EA9CD0F81CF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345" y="177106"/>
            <a:ext cx="440722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EE8584F-776F-CE43-B82A-08901CB04C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5928C1-AE23-4C47-B754-890FE72745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78BD"/>
          </a:solidFill>
          <a:ln>
            <a:solidFill>
              <a:srgbClr val="3678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38795F-832F-7A41-BFE2-2AA1C1E129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345" y="177106"/>
            <a:ext cx="4407226" cy="21600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9C0C623-2D29-9141-8B28-8E51290D708C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66143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7A1C639-99B2-4A4E-A848-FCDF8B8CE1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694D6CEC-7C5A-3644-8542-9DB48BE16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D035378-5C01-FC45-A1F5-C4ADE23D92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 i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4A4C6FB-EF59-2346-BFA1-FB3C5245B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77106"/>
            <a:ext cx="4411916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1490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E58104-D31B-2A46-9D9A-EA9CD0F81C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78B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345" y="177106"/>
            <a:ext cx="440722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EE8584F-776F-CE43-B82A-08901CB04C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2134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Renew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77106"/>
            <a:ext cx="441191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49C593FC-B38D-F24A-AAA6-81EAFBB41B1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6307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Glo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77106"/>
            <a:ext cx="441191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B95523F-D147-4043-8292-0F1CB1A98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8922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REM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345" y="177106"/>
            <a:ext cx="440722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2387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00" y="337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345" y="177106"/>
            <a:ext cx="440722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3759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0" indent="0">
              <a:lnSpc>
                <a:spcPct val="120000"/>
              </a:lnSpc>
              <a:buClr>
                <a:schemeClr val="tx2"/>
              </a:buClr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1835999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enew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7106"/>
            <a:ext cx="441191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49C593FC-B38D-F24A-AAA6-81EAFBB41B1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5245AF-6641-7A4E-B23C-A79A6745B2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4D4D13F-CFA2-0543-9CCE-43109CFF0D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77106"/>
            <a:ext cx="4411916" cy="21600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EF1F50-700F-AD4F-8758-1949A3E3D040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1332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Glo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7106"/>
            <a:ext cx="441191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B95523F-D147-4043-8292-0F1CB1A98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32859F-D5F4-A040-A623-C48B68772D8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002CDB1-8A22-DE41-8438-596048C938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77106"/>
            <a:ext cx="4411916" cy="21600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56049DD-4F2F-B546-BAC1-DA9580223C20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979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EM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345" y="177106"/>
            <a:ext cx="440722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on renewable energy background imag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CD2130-0C59-A24E-87B6-47C3253CAE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5E6D44-AD3D-734B-8CDF-7885FFE9E6C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345" y="177106"/>
            <a:ext cx="4407226" cy="21600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DE95D42-62A6-3A49-9013-2E0E801F3882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2407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00" y="337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345" y="177106"/>
            <a:ext cx="4407226" cy="216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14930" y="729000"/>
            <a:ext cx="6372220" cy="3273362"/>
          </a:xfrm>
        </p:spPr>
        <p:txBody>
          <a:bodyPr anchor="ctr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4930" y="4234934"/>
            <a:ext cx="6449470" cy="1271201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1B9A39-2722-B14F-B50F-862F6D6956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00" y="337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989843-35E4-554E-857E-B8B4D858E4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345" y="177106"/>
            <a:ext cx="4407226" cy="21600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6A3406-20DF-EC41-B915-E2FEFD2C7051}"/>
              </a:ext>
            </a:extLst>
          </p:cNvPr>
          <p:cNvCxnSpPr>
            <a:cxnSpLocks/>
          </p:cNvCxnSpPr>
          <p:nvPr userDrawn="1"/>
        </p:nvCxnSpPr>
        <p:spPr>
          <a:xfrm>
            <a:off x="4430966" y="729000"/>
            <a:ext cx="0" cy="540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05717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l-SI"/>
              <a:t>Agend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8E16D21-2873-7F4D-BC1C-4DCC7B7156B8}" type="slidenum">
              <a:rPr lang="en-SI" smtClean="0"/>
              <a:pPr/>
              <a:t>‹#›</a:t>
            </a:fld>
            <a:endParaRPr lang="en-S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26D3AD-FEF8-4340-934D-46D6144F23E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2572" y="1427034"/>
            <a:ext cx="8734362" cy="4351338"/>
          </a:xfrm>
        </p:spPr>
        <p:txBody>
          <a:bodyPr/>
          <a:lstStyle>
            <a:lvl1pPr marL="342900" indent="-342900">
              <a:buClr>
                <a:srgbClr val="3678BD"/>
              </a:buClr>
              <a:buFont typeface="Arial" panose="020B0604020202020204" pitchFamily="34" charset="0"/>
              <a:buChar char="•"/>
              <a:defRPr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Agenda item number one</a:t>
            </a:r>
          </a:p>
          <a:p>
            <a:pPr lvl="0"/>
            <a:r>
              <a:rPr lang="en-GB"/>
              <a:t>Agenda item number two</a:t>
            </a:r>
          </a:p>
          <a:p>
            <a:pPr lvl="0"/>
            <a:r>
              <a:rPr lang="en-GB"/>
              <a:t>Agenda item number three</a:t>
            </a:r>
          </a:p>
        </p:txBody>
      </p:sp>
    </p:spTree>
    <p:extLst>
      <p:ext uri="{BB962C8B-B14F-4D97-AF65-F5344CB8AC3E}">
        <p14:creationId xmlns:p14="http://schemas.microsoft.com/office/powerpoint/2010/main" val="563383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6000" y="1066800"/>
            <a:ext cx="10800000" cy="3084787"/>
          </a:xfrm>
        </p:spPr>
        <p:txBody>
          <a:bodyPr anchor="ctr">
            <a:normAutofit/>
          </a:bodyPr>
          <a:lstStyle>
            <a:lvl1pPr algn="l">
              <a:defRPr sz="6000"/>
            </a:lvl1pPr>
          </a:lstStyle>
          <a:p>
            <a:r>
              <a:rPr lang="en-GB"/>
              <a:t>Section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94800" y="4410075"/>
            <a:ext cx="10800000" cy="147637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ection subtitle / 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/>
        </p:nvCxnSpPr>
        <p:spPr>
          <a:xfrm>
            <a:off x="696000" y="4166100"/>
            <a:ext cx="108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8F4285B-4D3D-5548-9399-8AD26F3535EF}"/>
              </a:ext>
            </a:extLst>
          </p:cNvPr>
          <p:cNvCxnSpPr>
            <a:cxnSpLocks/>
          </p:cNvCxnSpPr>
          <p:nvPr userDrawn="1"/>
        </p:nvCxnSpPr>
        <p:spPr>
          <a:xfrm>
            <a:off x="696000" y="4166100"/>
            <a:ext cx="108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6538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/>
        </p:nvCxnSpPr>
        <p:spPr>
          <a:xfrm>
            <a:off x="696000" y="4166100"/>
            <a:ext cx="108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8F4285B-4D3D-5548-9399-8AD26F3535EF}"/>
              </a:ext>
            </a:extLst>
          </p:cNvPr>
          <p:cNvCxnSpPr>
            <a:cxnSpLocks/>
          </p:cNvCxnSpPr>
          <p:nvPr userDrawn="1"/>
        </p:nvCxnSpPr>
        <p:spPr>
          <a:xfrm>
            <a:off x="696000" y="4166100"/>
            <a:ext cx="108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4270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591B5B6-D938-0F47-BF55-D21DE155CC0B}"/>
              </a:ext>
            </a:extLst>
          </p:cNvPr>
          <p:cNvSpPr/>
          <p:nvPr userDrawn="1"/>
        </p:nvSpPr>
        <p:spPr>
          <a:xfrm>
            <a:off x="0" y="6282000"/>
            <a:ext cx="12192000" cy="57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0270" y="0"/>
            <a:ext cx="8715730" cy="1080000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0984" y="1423384"/>
            <a:ext cx="10795016" cy="44900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2000" y="6281998"/>
            <a:ext cx="720000" cy="576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8E16D21-2873-7F4D-BC1C-4DCC7B7156B8}" type="slidenum">
              <a:rPr lang="en-SI" smtClean="0"/>
              <a:pPr/>
              <a:t>‹#›</a:t>
            </a:fld>
            <a:endParaRPr lang="en-SI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C56792E-A1FB-BC4F-B5FD-E43FDCCB94F8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34142" y="0"/>
            <a:ext cx="2205958" cy="10800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D2DEC96-CFD0-C54C-AEEF-2574905C03C2}"/>
              </a:ext>
            </a:extLst>
          </p:cNvPr>
          <p:cNvCxnSpPr>
            <a:cxnSpLocks/>
          </p:cNvCxnSpPr>
          <p:nvPr/>
        </p:nvCxnSpPr>
        <p:spPr>
          <a:xfrm>
            <a:off x="696000" y="1080000"/>
            <a:ext cx="108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375F696-5CE6-CE46-AE30-00563537777A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434142" y="0"/>
            <a:ext cx="2205958" cy="108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6EFC4A9-1E97-2044-9DB0-7D4F091944BB}"/>
              </a:ext>
            </a:extLst>
          </p:cNvPr>
          <p:cNvCxnSpPr>
            <a:cxnSpLocks/>
          </p:cNvCxnSpPr>
          <p:nvPr userDrawn="1"/>
        </p:nvCxnSpPr>
        <p:spPr>
          <a:xfrm>
            <a:off x="696000" y="1080000"/>
            <a:ext cx="108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2238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728" r:id="rId16"/>
    <p:sldLayoutId id="2147483696" r:id="rId17"/>
    <p:sldLayoutId id="2147483698" r:id="rId18"/>
    <p:sldLayoutId id="2147483697" r:id="rId19"/>
    <p:sldLayoutId id="2147483661" r:id="rId20"/>
    <p:sldLayoutId id="2147483678" r:id="rId21"/>
    <p:sldLayoutId id="2147483675" r:id="rId22"/>
    <p:sldLayoutId id="2147483673" r:id="rId23"/>
    <p:sldLayoutId id="2147483677" r:id="rId24"/>
    <p:sldLayoutId id="2147483679" r:id="rId25"/>
    <p:sldLayoutId id="2147483729" r:id="rId26"/>
  </p:sldLayoutIdLst>
  <p:hf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16000" indent="-2160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2" pos="3840">
          <p15:clr>
            <a:srgbClr val="F26B43"/>
          </p15:clr>
        </p15:guide>
        <p15:guide id="3" pos="7242">
          <p15:clr>
            <a:srgbClr val="F26B43"/>
          </p15:clr>
        </p15:guide>
        <p15:guide id="4" pos="438">
          <p15:clr>
            <a:srgbClr val="F26B43"/>
          </p15:clr>
        </p15:guide>
        <p15:guide id="5" pos="4883">
          <p15:clr>
            <a:srgbClr val="F26B43"/>
          </p15:clr>
        </p15:guide>
        <p15:guide id="6" pos="2797">
          <p15:clr>
            <a:srgbClr val="F26B43"/>
          </p15:clr>
        </p15:guide>
        <p15:guide id="7" orient="horz" pos="2273">
          <p15:clr>
            <a:srgbClr val="F26B43"/>
          </p15:clr>
        </p15:guide>
        <p15:guide id="8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EU_ACER" TargetMode="External"/><Relationship Id="rId2" Type="http://schemas.openxmlformats.org/officeDocument/2006/relationships/hyperlink" Target="https://www.acer.europa.eu/" TargetMode="External"/><Relationship Id="rId1" Type="http://schemas.openxmlformats.org/officeDocument/2006/relationships/slideLayout" Target="../slideLayouts/slideLayout19.xml"/><Relationship Id="rId5" Type="http://schemas.openxmlformats.org/officeDocument/2006/relationships/hyperlink" Target="mailto:info@acer.europa.eu" TargetMode="External"/><Relationship Id="rId4" Type="http://schemas.openxmlformats.org/officeDocument/2006/relationships/hyperlink" Target="https://si.linkedin.com/company/eu-acer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3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sv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slideLayout" Target="../slideLayouts/slideLayout26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0" Type="http://schemas.openxmlformats.org/officeDocument/2006/relationships/tags" Target="../tags/tag20.xml"/><Relationship Id="rId41" Type="http://schemas.openxmlformats.org/officeDocument/2006/relationships/tags" Target="../tags/tag4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rena.org/-/media/Files/IRENA/Agency/Publication/2020/Jul/IRENA_Dynamic_line_rating_2020.pdf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C7BE8A6-2A14-3541-8512-2382D4EEB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14930" y="1747880"/>
            <a:ext cx="6372220" cy="2254481"/>
          </a:xfrm>
        </p:spPr>
        <p:txBody>
          <a:bodyPr>
            <a:normAutofit/>
          </a:bodyPr>
          <a:lstStyle/>
          <a:p>
            <a:r>
              <a:rPr lang="en-GB"/>
              <a:t>Measures to increase cross-zonal capacities and flexibility in SEE+</a:t>
            </a:r>
            <a:endParaRPr lang="en-S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0C908D-F87D-6E45-97E2-03C0CD728E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14930" y="4234934"/>
            <a:ext cx="6449470" cy="1644658"/>
          </a:xfrm>
        </p:spPr>
        <p:txBody>
          <a:bodyPr>
            <a:normAutofit/>
          </a:bodyPr>
          <a:lstStyle/>
          <a:p>
            <a:r>
              <a:rPr lang="en-GB" sz="2800" b="1"/>
              <a:t>MESC 10/02/2026</a:t>
            </a:r>
          </a:p>
          <a:p>
            <a:endParaRPr lang="en-GB" b="1"/>
          </a:p>
          <a:p>
            <a:r>
              <a:rPr lang="en-GB" b="1">
                <a:solidFill>
                  <a:srgbClr val="FFFF00"/>
                </a:solidFill>
              </a:rPr>
              <a:t>Disclaimer: Work in progress</a:t>
            </a:r>
            <a:endParaRPr lang="en-US">
              <a:solidFill>
                <a:srgbClr val="FFFF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5030AD-CE8E-56BD-4459-91550DE8D34F}"/>
              </a:ext>
            </a:extLst>
          </p:cNvPr>
          <p:cNvSpPr txBox="1"/>
          <p:nvPr/>
        </p:nvSpPr>
        <p:spPr>
          <a:xfrm>
            <a:off x="5022909" y="1351865"/>
            <a:ext cx="61029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>
                <a:solidFill>
                  <a:schemeClr val="bg1"/>
                </a:solidFill>
              </a:rPr>
              <a:t>Energy Union Task Force</a:t>
            </a:r>
          </a:p>
        </p:txBody>
      </p:sp>
    </p:spTree>
    <p:extLst>
      <p:ext uri="{BB962C8B-B14F-4D97-AF65-F5344CB8AC3E}">
        <p14:creationId xmlns:p14="http://schemas.microsoft.com/office/powerpoint/2010/main" val="5593870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B31CDC-EE35-17DF-EB76-A22B0D14FD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7F3A9D8-AF6C-CADE-EC72-E7B754C1CCE1}"/>
              </a:ext>
            </a:extLst>
          </p:cNvPr>
          <p:cNvSpPr txBox="1">
            <a:spLocks/>
          </p:cNvSpPr>
          <p:nvPr/>
        </p:nvSpPr>
        <p:spPr>
          <a:xfrm>
            <a:off x="709007" y="1351084"/>
            <a:ext cx="10867297" cy="46516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ystem Font Regular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2925" indent="-276225">
              <a:lnSpc>
                <a:spcPct val="100000"/>
              </a:lnSpc>
              <a:buFont typeface="Wingdings" pitchFamily="2" charset="2"/>
              <a:buChar char="§"/>
            </a:pPr>
            <a:r>
              <a:rPr lang="en-GB"/>
              <a:t>Including assessment of </a:t>
            </a:r>
            <a:r>
              <a:rPr lang="en-GB">
                <a:solidFill>
                  <a:schemeClr val="tx2"/>
                </a:solidFill>
              </a:rPr>
              <a:t>cross-zonal capacity during OPC </a:t>
            </a:r>
            <a:r>
              <a:rPr lang="en-GB"/>
              <a:t>at least at yearly level: 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 sz="1600"/>
              <a:t>As foreseen by the Electricity Regulation (Annex I, 10.1.)*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 sz="1600"/>
              <a:t>Potentially resulting of shifting outages to less congested weeks.</a:t>
            </a:r>
          </a:p>
          <a:p>
            <a:pPr marL="10096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600"/>
              <a:t>Already on-going process improvement at TSCNET to include an </a:t>
            </a:r>
            <a:r>
              <a:rPr lang="en-GB" sz="1600">
                <a:solidFill>
                  <a:schemeClr val="tx2"/>
                </a:solidFill>
              </a:rPr>
              <a:t>optimisation function to maximise cross-zonal capacity </a:t>
            </a:r>
            <a:r>
              <a:rPr lang="en-GB" sz="1600"/>
              <a:t>in OPC, though so far not considering shifting of outages.</a:t>
            </a:r>
          </a:p>
          <a:p>
            <a:pPr marL="552450" indent="-285750">
              <a:lnSpc>
                <a:spcPct val="100000"/>
              </a:lnSpc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/>
              <a:t>Introducing </a:t>
            </a:r>
            <a:r>
              <a:rPr lang="en-GB">
                <a:solidFill>
                  <a:schemeClr val="tx2"/>
                </a:solidFill>
              </a:rPr>
              <a:t>flexibility in weekly outage planning </a:t>
            </a:r>
            <a:r>
              <a:rPr lang="en-GB"/>
              <a:t>in case of severe market congestion on CNECs: 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 sz="1600"/>
              <a:t>Flagging flexible outage plans already at yearly level.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 sz="1600"/>
              <a:t>Monitoring of severe market congestion (i.e. high shadow price) on CNECs at week-ahead level, assessing impact of outages on the congested lines -&gt; potentially leading to shifting of outages planned for next wee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873FBB-785C-10B5-BE62-DEE072A8F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10</a:t>
            </a:fld>
            <a:endParaRPr lang="en-SI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CC8AD4-79A6-FA90-B19F-88E0BAA1F33B}"/>
              </a:ext>
            </a:extLst>
          </p:cNvPr>
          <p:cNvSpPr txBox="1"/>
          <p:nvPr/>
        </p:nvSpPr>
        <p:spPr>
          <a:xfrm>
            <a:off x="709007" y="6390889"/>
            <a:ext cx="10431717" cy="294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“Each RCC shall carry out regional OPC (…), while maximising the capacity of the interconnectors and the transmission systems affecting cross-zonal flows.”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65E3AE7-11B4-7AAF-6E4C-949F9760198E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3. Outage Planning Coordination (OPC)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Proposals</a:t>
            </a:r>
          </a:p>
        </p:txBody>
      </p:sp>
    </p:spTree>
    <p:extLst>
      <p:ext uri="{BB962C8B-B14F-4D97-AF65-F5344CB8AC3E}">
        <p14:creationId xmlns:p14="http://schemas.microsoft.com/office/powerpoint/2010/main" val="2414518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1A79ED-1780-687A-3346-12BC77A937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984" y="1536192"/>
            <a:ext cx="10795016" cy="4434840"/>
          </a:xfrm>
        </p:spPr>
        <p:txBody>
          <a:bodyPr>
            <a:normAutofit lnSpcReduction="10000"/>
          </a:bodyPr>
          <a:lstStyle/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Derogations</a:t>
            </a:r>
            <a:r>
              <a:rPr lang="en-GB"/>
              <a:t> are granted yearly in </a:t>
            </a:r>
            <a:r>
              <a:rPr lang="en-GB">
                <a:solidFill>
                  <a:schemeClr val="tx2"/>
                </a:solidFill>
              </a:rPr>
              <a:t>6 Core Member States, </a:t>
            </a:r>
            <a:r>
              <a:rPr lang="en-GB"/>
              <a:t>with most citing the presence of </a:t>
            </a:r>
            <a:r>
              <a:rPr lang="en-GB">
                <a:solidFill>
                  <a:schemeClr val="tx2"/>
                </a:solidFill>
              </a:rPr>
              <a:t>excessive loop flows</a:t>
            </a:r>
            <a:r>
              <a:rPr lang="en-GB"/>
              <a:t> and the lack of a </a:t>
            </a:r>
            <a:r>
              <a:rPr lang="en-GB">
                <a:solidFill>
                  <a:schemeClr val="tx2"/>
                </a:solidFill>
              </a:rPr>
              <a:t>coordinated congestion management framework.</a:t>
            </a:r>
            <a:endParaRPr lang="en-GB"/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/>
              <a:t>Over the last weeks, ACER has been collaborating with Core NRAs to </a:t>
            </a:r>
            <a:r>
              <a:rPr lang="en-GB">
                <a:solidFill>
                  <a:schemeClr val="tx2"/>
                </a:solidFill>
              </a:rPr>
              <a:t>improve 70% derogation requests for 2026. 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/>
              <a:t>AT, BE, NL and PL apply dynamic targets based on forecasted loop flows. 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/>
              <a:t>RO and SK: commitment to implement </a:t>
            </a:r>
            <a:r>
              <a:rPr lang="en-GB">
                <a:solidFill>
                  <a:schemeClr val="tx2"/>
                </a:solidFill>
              </a:rPr>
              <a:t>dynamic targets as well.</a:t>
            </a:r>
            <a:endParaRPr lang="en-GB"/>
          </a:p>
          <a:p>
            <a:pPr marL="742950" lvl="1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/>
              <a:t>Transitory period to assess and implement dynamic targets:</a:t>
            </a:r>
            <a:r>
              <a:rPr lang="en-GB">
                <a:solidFill>
                  <a:schemeClr val="tx2"/>
                </a:solidFill>
              </a:rPr>
              <a:t> by Summer 2026. </a:t>
            </a:r>
          </a:p>
          <a:p>
            <a:pPr marL="742950" lvl="1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/>
              <a:t>Goal: At least </a:t>
            </a:r>
            <a:r>
              <a:rPr lang="en-GB">
                <a:solidFill>
                  <a:schemeClr val="tx2"/>
                </a:solidFill>
              </a:rPr>
              <a:t>all flows stemming from internal transactions shall be tested against a TSO’s RDCT potential</a:t>
            </a:r>
            <a:r>
              <a:rPr lang="en-GB"/>
              <a:t>. Whenever RDCT potential is insufficient to secure calculated capacities, these are to be reduced via validation. 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>
              <a:solidFill>
                <a:schemeClr val="tx2"/>
              </a:solidFill>
            </a:endParaRP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Mid-term: </a:t>
            </a:r>
            <a:r>
              <a:rPr lang="en-GB"/>
              <a:t>Prioritise the implementation of ROSC and RDCT Cost Sharing, to avoid derogations on the grounds of excessive loop flow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2E3817-3599-B067-148C-20ED4CCA4E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11</a:t>
            </a:fld>
            <a:endParaRPr lang="en-SI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DCAD20-E859-40BE-77E3-3A396A0FF533}"/>
              </a:ext>
            </a:extLst>
          </p:cNvPr>
          <p:cNvSpPr txBox="1"/>
          <p:nvPr/>
        </p:nvSpPr>
        <p:spPr>
          <a:xfrm>
            <a:off x="700983" y="6417616"/>
            <a:ext cx="10431717" cy="304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CT = Redispatching and countertrading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363AB-FA38-426D-7682-FBA54C35E5AE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4. Improving 70% derogation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Improvement of derogation requests</a:t>
            </a:r>
          </a:p>
        </p:txBody>
      </p:sp>
    </p:spTree>
    <p:extLst>
      <p:ext uri="{BB962C8B-B14F-4D97-AF65-F5344CB8AC3E}">
        <p14:creationId xmlns:p14="http://schemas.microsoft.com/office/powerpoint/2010/main" val="17776777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CFF126-8206-A32F-DEC5-257B0F32D8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DACFED-373D-4168-57F4-CCC221D56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12</a:t>
            </a:fld>
            <a:endParaRPr lang="en-SI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D48CA39-3AF1-0FD7-3DCF-1777F4BB169F}"/>
              </a:ext>
            </a:extLst>
          </p:cNvPr>
          <p:cNvSpPr txBox="1">
            <a:spLocks/>
          </p:cNvSpPr>
          <p:nvPr/>
        </p:nvSpPr>
        <p:spPr>
          <a:xfrm>
            <a:off x="704727" y="1414023"/>
            <a:ext cx="4874037" cy="475351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ystem Font Regular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Wingdings" pitchFamily="2" charset="2"/>
              <a:buChar char="§"/>
            </a:pPr>
            <a:r>
              <a:rPr lang="en-GB" sz="1600">
                <a:latin typeface="Arial"/>
                <a:cs typeface="Arial"/>
              </a:rPr>
              <a:t>TSOs may rely on PSTs and topological remedial actions to redirect power flows. These actions can be: </a:t>
            </a:r>
          </a:p>
          <a:p>
            <a:pPr marL="742950" lvl="1" indent="-285750" algn="just">
              <a:lnSpc>
                <a:spcPct val="120000"/>
              </a:lnSpc>
              <a:buFont typeface="Wingdings" pitchFamily="2" charset="2"/>
              <a:buChar char="§"/>
            </a:pP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Preventive: activated</a:t>
            </a:r>
            <a:r>
              <a:rPr lang="en-GB" sz="1600">
                <a:latin typeface="Arial"/>
                <a:cs typeface="Arial"/>
              </a:rPr>
              <a:t>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before an N-1 outage</a:t>
            </a:r>
            <a:r>
              <a:rPr lang="en-GB" sz="1600">
                <a:latin typeface="Arial"/>
                <a:cs typeface="Arial"/>
              </a:rPr>
              <a:t> so that, even after the outage, flow remains below Fmax.</a:t>
            </a:r>
          </a:p>
          <a:p>
            <a:pPr marL="742950" lvl="1" indent="-285750" algn="just">
              <a:lnSpc>
                <a:spcPct val="120000"/>
              </a:lnSpc>
              <a:buFont typeface="Wingdings" pitchFamily="2" charset="2"/>
              <a:buChar char="§"/>
            </a:pP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Curative:</a:t>
            </a:r>
            <a:r>
              <a:rPr lang="en-GB" sz="1600">
                <a:latin typeface="Arial"/>
                <a:cs typeface="Arial"/>
              </a:rPr>
              <a:t>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activated only in the event of an N-1 outage</a:t>
            </a:r>
            <a:r>
              <a:rPr lang="en-GB" sz="1600">
                <a:latin typeface="Arial"/>
                <a:cs typeface="Arial"/>
              </a:rPr>
              <a:t>, allowing for a temporary overload of the line until the action is triggered.  </a:t>
            </a:r>
          </a:p>
          <a:p>
            <a:pPr marL="285750" indent="-285750" algn="just">
              <a:buFont typeface="Wingdings" pitchFamily="2" charset="2"/>
              <a:buChar char="§"/>
            </a:pPr>
            <a:r>
              <a:rPr lang="en-GB" sz="1600">
                <a:latin typeface="Arial"/>
                <a:cs typeface="Arial"/>
              </a:rPr>
              <a:t>Curative RAs need to be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available with certainty and be triggered automatically or within minutes</a:t>
            </a:r>
            <a:r>
              <a:rPr lang="en-GB" sz="1600">
                <a:latin typeface="Arial"/>
                <a:cs typeface="Arial"/>
              </a:rPr>
              <a:t> after the outage occurs.</a:t>
            </a:r>
          </a:p>
          <a:p>
            <a:pPr marL="285750" indent="-285750" algn="just">
              <a:buFont typeface="Wingdings" pitchFamily="2" charset="2"/>
              <a:buChar char="§"/>
            </a:pPr>
            <a:r>
              <a:rPr lang="en-GB" sz="1600"/>
              <a:t>By modelling curative RAs in capacity calculation,  </a:t>
            </a:r>
            <a:r>
              <a:rPr lang="en-GB" sz="1600">
                <a:solidFill>
                  <a:schemeClr val="tx2"/>
                </a:solidFill>
              </a:rPr>
              <a:t>thermal ratings of affected CNEs can be increased up to the temporary limit (TATL)</a:t>
            </a:r>
            <a:r>
              <a:rPr lang="en-GB" sz="1600"/>
              <a:t>, increasing offered capacity. </a:t>
            </a:r>
            <a:endParaRPr lang="en-GB" sz="1600">
              <a:latin typeface="Arial"/>
              <a:cs typeface="Arial"/>
            </a:endParaRPr>
          </a:p>
          <a:p>
            <a:pPr marL="285750" indent="-285750" algn="just">
              <a:buFont typeface="Wingdings" pitchFamily="2" charset="2"/>
              <a:buChar char="§"/>
            </a:pPr>
            <a:r>
              <a:rPr lang="en-GB" sz="1600">
                <a:latin typeface="Arial"/>
                <a:cs typeface="Arial"/>
              </a:rPr>
              <a:t>Proposal to more widely design and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implement curative remedial actions in capacity calculation</a:t>
            </a:r>
            <a:r>
              <a:rPr lang="en-GB" sz="1600">
                <a:latin typeface="Arial"/>
                <a:cs typeface="Arial"/>
              </a:rPr>
              <a:t>, prioritising those affecting highly congested network elements.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4F1041-76CA-1C94-37CF-A9B5D046ADC8}"/>
              </a:ext>
            </a:extLst>
          </p:cNvPr>
          <p:cNvSpPr txBox="1">
            <a:spLocks/>
          </p:cNvSpPr>
          <p:nvPr/>
        </p:nvSpPr>
        <p:spPr>
          <a:xfrm>
            <a:off x="580112" y="6343316"/>
            <a:ext cx="10891888" cy="473242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</a:rPr>
              <a:t>Fmax = Maximum allowed flow on a network element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</a:rPr>
              <a:t>RA = Remedial action</a:t>
            </a:r>
            <a:endParaRPr lang="en-GB" sz="1600"/>
          </a:p>
        </p:txBody>
      </p:sp>
      <p:sp>
        <p:nvSpPr>
          <p:cNvPr id="3" name="Text Box 1">
            <a:extLst>
              <a:ext uri="{FF2B5EF4-FFF2-40B4-BE49-F238E27FC236}">
                <a16:creationId xmlns:a16="http://schemas.microsoft.com/office/drawing/2014/main" id="{9F79FC3D-2B4D-6CF3-018C-A52502A27174}"/>
              </a:ext>
            </a:extLst>
          </p:cNvPr>
          <p:cNvSpPr txBox="1"/>
          <p:nvPr/>
        </p:nvSpPr>
        <p:spPr>
          <a:xfrm>
            <a:off x="5930929" y="1828559"/>
            <a:ext cx="5556344" cy="287031"/>
          </a:xfrm>
          <a:prstGeom prst="rect">
            <a:avLst/>
          </a:prstGeom>
          <a:solidFill>
            <a:prstClr val="white"/>
          </a:solidFill>
          <a:ln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1000"/>
              </a:spcAft>
            </a:pPr>
            <a:r>
              <a:rPr lang="en-GB" sz="1200" b="1">
                <a:solidFill>
                  <a:schemeClr val="tx2"/>
                </a:solidFill>
              </a:rPr>
              <a:t>Exemplary figure on functioning of preventive and curative remedial actions</a:t>
            </a:r>
          </a:p>
        </p:txBody>
      </p:sp>
      <p:pic>
        <p:nvPicPr>
          <p:cNvPr id="1026" name="Picture 2" descr="Multi-step Optimisation - Open RAO">
            <a:extLst>
              <a:ext uri="{FF2B5EF4-FFF2-40B4-BE49-F238E27FC236}">
                <a16:creationId xmlns:a16="http://schemas.microsoft.com/office/drawing/2014/main" id="{8DF8770D-4613-A1BB-3726-72CC9EFE2A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" t="7347" r="3593" b="5644"/>
          <a:stretch>
            <a:fillRect/>
          </a:stretch>
        </p:blipFill>
        <p:spPr bwMode="auto">
          <a:xfrm>
            <a:off x="5578764" y="2064667"/>
            <a:ext cx="6088429" cy="3181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F303290-0908-AD39-5CB2-EDBF4F829C52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5. Use of curative remedial actions (</a:t>
            </a:r>
            <a:r>
              <a:rPr lang="en-GB" sz="2400" err="1">
                <a:solidFill>
                  <a:schemeClr val="tx2"/>
                </a:solidFill>
              </a:rPr>
              <a:t>cRA</a:t>
            </a:r>
            <a:r>
              <a:rPr lang="en-GB" sz="2400">
                <a:solidFill>
                  <a:schemeClr val="tx2"/>
                </a:solidFill>
              </a:rPr>
              <a:t>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10604300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F4AF7E-F178-AD49-9FF2-7FC8C3EAB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C0819-8013-D177-113D-B2DB2392F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13</a:t>
            </a:fld>
            <a:endParaRPr lang="en-SI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1F3E8DB-006E-75AB-3311-2C39D9F1196F}"/>
              </a:ext>
            </a:extLst>
          </p:cNvPr>
          <p:cNvSpPr txBox="1">
            <a:spLocks/>
          </p:cNvSpPr>
          <p:nvPr/>
        </p:nvSpPr>
        <p:spPr>
          <a:xfrm>
            <a:off x="699028" y="1352549"/>
            <a:ext cx="11105876" cy="472440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ystem Font Regular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>
                <a:latin typeface="Arial"/>
                <a:cs typeface="Arial"/>
              </a:rPr>
              <a:t>TSOs regularly considering a </a:t>
            </a:r>
            <a:r>
              <a:rPr lang="en-GB">
                <a:solidFill>
                  <a:schemeClr val="tx2"/>
                </a:solidFill>
                <a:latin typeface="Arial"/>
                <a:cs typeface="Arial"/>
              </a:rPr>
              <a:t>given curative RA in real time processes</a:t>
            </a:r>
            <a:r>
              <a:rPr lang="en-GB">
                <a:latin typeface="Arial"/>
                <a:cs typeface="Arial"/>
              </a:rPr>
              <a:t>, should aim to include those </a:t>
            </a:r>
            <a:r>
              <a:rPr lang="en-GB">
                <a:solidFill>
                  <a:schemeClr val="tx2"/>
                </a:solidFill>
                <a:latin typeface="Arial"/>
                <a:cs typeface="Arial"/>
              </a:rPr>
              <a:t>also in capacity calculation </a:t>
            </a:r>
            <a:r>
              <a:rPr lang="en-GB">
                <a:latin typeface="Arial"/>
                <a:cs typeface="Arial"/>
              </a:rPr>
              <a:t>(where feasible)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>
                <a:latin typeface="Arial"/>
                <a:cs typeface="Arial"/>
              </a:rPr>
              <a:t>All </a:t>
            </a:r>
            <a:r>
              <a:rPr lang="en-GB">
                <a:solidFill>
                  <a:schemeClr val="tx2"/>
                </a:solidFill>
                <a:latin typeface="Arial"/>
                <a:cs typeface="Arial"/>
              </a:rPr>
              <a:t>remedial actions modelled as preventive RAs </a:t>
            </a:r>
            <a:r>
              <a:rPr lang="en-GB">
                <a:latin typeface="Arial"/>
                <a:cs typeface="Arial"/>
              </a:rPr>
              <a:t>in capacity calculation to be </a:t>
            </a:r>
            <a:r>
              <a:rPr lang="en-GB">
                <a:solidFill>
                  <a:schemeClr val="tx2"/>
                </a:solidFill>
                <a:latin typeface="Arial"/>
                <a:cs typeface="Arial"/>
              </a:rPr>
              <a:t>also considered as curative RAs</a:t>
            </a:r>
            <a:r>
              <a:rPr lang="en-GB">
                <a:latin typeface="Arial"/>
                <a:cs typeface="Arial"/>
              </a:rPr>
              <a:t>.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>
                <a:latin typeface="Arial"/>
                <a:cs typeface="Arial"/>
              </a:rPr>
              <a:t>TSOs that don’t define curative RAs to at least </a:t>
            </a:r>
            <a:r>
              <a:rPr lang="en-GB">
                <a:solidFill>
                  <a:schemeClr val="tx2"/>
                </a:solidFill>
                <a:latin typeface="Arial"/>
                <a:cs typeface="Arial"/>
              </a:rPr>
              <a:t>allow for temporary limits (TATL) on CNEs affected by </a:t>
            </a:r>
            <a:r>
              <a:rPr lang="en-GB" err="1">
                <a:solidFill>
                  <a:schemeClr val="tx2"/>
                </a:solidFill>
                <a:latin typeface="Arial"/>
                <a:cs typeface="Arial"/>
              </a:rPr>
              <a:t>cRAs</a:t>
            </a:r>
            <a:r>
              <a:rPr lang="en-GB">
                <a:solidFill>
                  <a:schemeClr val="tx2"/>
                </a:solidFill>
                <a:latin typeface="Arial"/>
                <a:cs typeface="Arial"/>
              </a:rPr>
              <a:t> of neighbouring TSOs.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>
                <a:latin typeface="Arial"/>
                <a:cs typeface="Arial"/>
              </a:rPr>
              <a:t>E.g. Elia allowing for 110% of Fmax for RTE’s </a:t>
            </a:r>
            <a:r>
              <a:rPr lang="en-GB" err="1">
                <a:latin typeface="Arial"/>
                <a:cs typeface="Arial"/>
              </a:rPr>
              <a:t>cRAs</a:t>
            </a:r>
            <a:r>
              <a:rPr lang="en-GB">
                <a:latin typeface="Arial"/>
                <a:cs typeface="Arial"/>
              </a:rPr>
              <a:t>. 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>
                <a:latin typeface="Arial"/>
                <a:cs typeface="Arial"/>
              </a:rPr>
              <a:t>Ensuring curative RAs are </a:t>
            </a:r>
            <a:r>
              <a:rPr lang="en-GB">
                <a:solidFill>
                  <a:schemeClr val="tx2"/>
                </a:solidFill>
                <a:latin typeface="Arial"/>
                <a:cs typeface="Arial"/>
              </a:rPr>
              <a:t>considered more effectively in capacity calculation. 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>
                <a:latin typeface="Arial"/>
                <a:cs typeface="Arial"/>
              </a:rPr>
              <a:t>E.g. RTE </a:t>
            </a:r>
            <a:r>
              <a:rPr lang="en-GB" err="1">
                <a:latin typeface="Arial"/>
                <a:cs typeface="Arial"/>
              </a:rPr>
              <a:t>cRAs</a:t>
            </a:r>
            <a:r>
              <a:rPr lang="en-GB">
                <a:latin typeface="Arial"/>
                <a:cs typeface="Arial"/>
              </a:rPr>
              <a:t> seemingly only activated 1-2% of MTUs in Core FBMC. For other TSOs, even less.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>
                <a:latin typeface="Arial"/>
                <a:cs typeface="Arial"/>
              </a:rPr>
              <a:t>NRAO optimisation based on full flow-based domain neglects most </a:t>
            </a:r>
            <a:r>
              <a:rPr lang="en-GB" err="1">
                <a:latin typeface="Arial"/>
                <a:cs typeface="Arial"/>
              </a:rPr>
              <a:t>cRAs</a:t>
            </a:r>
            <a:r>
              <a:rPr lang="en-GB">
                <a:latin typeface="Arial"/>
                <a:cs typeface="Arial"/>
              </a:rPr>
              <a:t>.</a:t>
            </a:r>
          </a:p>
          <a:p>
            <a:pPr marL="1200150" lvl="2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>
                <a:latin typeface="Arial"/>
                <a:cs typeface="Arial"/>
              </a:rPr>
              <a:t>The </a:t>
            </a:r>
            <a:r>
              <a:rPr lang="en-GB" err="1">
                <a:latin typeface="Arial"/>
                <a:cs typeface="Arial"/>
              </a:rPr>
              <a:t>cRAs</a:t>
            </a:r>
            <a:r>
              <a:rPr lang="en-GB">
                <a:latin typeface="Arial"/>
                <a:cs typeface="Arial"/>
              </a:rPr>
              <a:t> far away from the CNEC with lowest RAM relative are not considered, though they can have positive effect in their vicinity</a:t>
            </a:r>
          </a:p>
          <a:p>
            <a:pPr marL="1200150" lvl="2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>
              <a:latin typeface="Arial"/>
              <a:cs typeface="Arial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>
              <a:latin typeface="Arial"/>
              <a:cs typeface="Arial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8F5E12E-DEA7-FEB6-E843-7F70FA78838E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5. Use of curative remedial actions (</a:t>
            </a:r>
            <a:r>
              <a:rPr lang="en-GB" sz="2400" err="1">
                <a:solidFill>
                  <a:schemeClr val="tx2"/>
                </a:solidFill>
              </a:rPr>
              <a:t>cRA</a:t>
            </a:r>
            <a:r>
              <a:rPr lang="en-GB" sz="2400">
                <a:solidFill>
                  <a:schemeClr val="tx2"/>
                </a:solidFill>
              </a:rPr>
              <a:t>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Proposals for Core CCR</a:t>
            </a:r>
          </a:p>
        </p:txBody>
      </p:sp>
    </p:spTree>
    <p:extLst>
      <p:ext uri="{BB962C8B-B14F-4D97-AF65-F5344CB8AC3E}">
        <p14:creationId xmlns:p14="http://schemas.microsoft.com/office/powerpoint/2010/main" val="33130166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F89AE3-4E1D-6300-0159-F0101CC5B3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488D91-697E-7DBE-1D99-48A2A1C24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14</a:t>
            </a:fld>
            <a:endParaRPr lang="en-S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E11B3B5-196B-DB27-60E4-9B6DBFF700D0}"/>
              </a:ext>
            </a:extLst>
          </p:cNvPr>
          <p:cNvSpPr txBox="1">
            <a:spLocks/>
          </p:cNvSpPr>
          <p:nvPr/>
        </p:nvSpPr>
        <p:spPr>
          <a:xfrm>
            <a:off x="3414774" y="0"/>
            <a:ext cx="8024712" cy="1080000"/>
          </a:xfrm>
          <a:prstGeom prst="rect">
            <a:avLst/>
          </a:prstGeom>
        </p:spPr>
        <p:txBody>
          <a:bodyPr vert="horz" lIns="0" tIns="180000" rIns="0" bIns="180000" rtlCol="0" anchor="ctr">
            <a:norm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SI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34128FF-1F6E-210A-9FB2-27B99F716D14}"/>
              </a:ext>
            </a:extLst>
          </p:cNvPr>
          <p:cNvSpPr txBox="1">
            <a:spLocks/>
          </p:cNvSpPr>
          <p:nvPr/>
        </p:nvSpPr>
        <p:spPr>
          <a:xfrm>
            <a:off x="717316" y="1392514"/>
            <a:ext cx="10757368" cy="4488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ystem Font Regular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Improvement proposals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/>
              <a:t>Applying </a:t>
            </a:r>
            <a:r>
              <a:rPr lang="en-GB">
                <a:solidFill>
                  <a:schemeClr val="tx2"/>
                </a:solidFill>
              </a:rPr>
              <a:t>common Net position Forecast (NPF) </a:t>
            </a:r>
            <a:r>
              <a:rPr lang="en-GB"/>
              <a:t>for building individual grid models (IGM)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/>
              <a:t>for all TSOs, or at least for Continental Europe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GB"/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GB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2"/>
                </a:solidFill>
              </a:rPr>
              <a:t>Exchange and merging of most representative individual grid models </a:t>
            </a:r>
            <a:r>
              <a:rPr lang="en-GB"/>
              <a:t>among CCRs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/>
              <a:t>in particular D-2 forecast models used for day-ahead capacity calculation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GB"/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GB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2"/>
                </a:solidFill>
              </a:rPr>
              <a:t>Unique Common Grid Model (CGM) </a:t>
            </a:r>
            <a:r>
              <a:rPr lang="en-GB"/>
              <a:t>to be used for capacity calculation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2"/>
                </a:solidFill>
              </a:rPr>
              <a:t>In the first step: </a:t>
            </a:r>
            <a:r>
              <a:rPr lang="en-GB"/>
              <a:t>for Central Europe, ECE, SEE and EE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2"/>
                </a:solidFill>
              </a:rPr>
              <a:t>End target: </a:t>
            </a:r>
            <a:r>
              <a:rPr lang="en-GB"/>
              <a:t>pan European CGM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0DF95BA-AB15-815C-7776-2DF885332F13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6. Improvement of grid modelling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Proposals</a:t>
            </a:r>
          </a:p>
        </p:txBody>
      </p:sp>
    </p:spTree>
    <p:extLst>
      <p:ext uri="{BB962C8B-B14F-4D97-AF65-F5344CB8AC3E}">
        <p14:creationId xmlns:p14="http://schemas.microsoft.com/office/powerpoint/2010/main" val="24570362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A14D56-A6A4-A5AB-D009-1DEE4B668A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714181-DA43-8F89-2522-B91A6E223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15</a:t>
            </a:fld>
            <a:endParaRPr lang="en-SI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E576E8-4319-9AA3-C33E-64F05AE6DC0A}"/>
              </a:ext>
            </a:extLst>
          </p:cNvPr>
          <p:cNvSpPr txBox="1"/>
          <p:nvPr/>
        </p:nvSpPr>
        <p:spPr>
          <a:xfrm>
            <a:off x="720436" y="1466850"/>
            <a:ext cx="10751564" cy="458152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 lnSpcReduction="10000"/>
          </a:bodyPr>
          <a:lstStyle/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/>
              <a:t>Beyond concrete improvements to capacity calculation and allocation processes, other </a:t>
            </a:r>
            <a:r>
              <a:rPr lang="en-GB" sz="2000">
                <a:solidFill>
                  <a:schemeClr val="tx2"/>
                </a:solidFill>
              </a:rPr>
              <a:t>longer-term market design improvements</a:t>
            </a:r>
            <a:r>
              <a:rPr lang="en-GB" sz="2000"/>
              <a:t> in South-East Europe will be promoted within this process, such as: </a:t>
            </a:r>
          </a:p>
          <a:p>
            <a:pPr marL="800100" lvl="1" indent="-342900" algn="just">
              <a:lnSpc>
                <a:spcPct val="15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/>
              <a:t>Extension of </a:t>
            </a:r>
            <a:r>
              <a:rPr lang="en-GB" sz="2000">
                <a:solidFill>
                  <a:schemeClr val="tx2"/>
                </a:solidFill>
              </a:rPr>
              <a:t>market coupling to Energy Community</a:t>
            </a:r>
            <a:r>
              <a:rPr lang="en-GB" sz="2000"/>
              <a:t> bidding zones; </a:t>
            </a:r>
          </a:p>
          <a:p>
            <a:pPr marL="800100" lvl="1" indent="-342900" algn="just">
              <a:lnSpc>
                <a:spcPct val="15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2"/>
                </a:solidFill>
              </a:rPr>
              <a:t>Implementation of flow-based market coupling</a:t>
            </a:r>
            <a:r>
              <a:rPr lang="en-GB" sz="2000"/>
              <a:t> in South-East Europe; and</a:t>
            </a:r>
          </a:p>
          <a:p>
            <a:pPr marL="800100" lvl="1" indent="-342900" algn="just">
              <a:lnSpc>
                <a:spcPct val="15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/>
              <a:t>Removing </a:t>
            </a:r>
            <a:r>
              <a:rPr lang="en-GB" sz="2000">
                <a:solidFill>
                  <a:schemeClr val="tx2"/>
                </a:solidFill>
              </a:rPr>
              <a:t>barriers to participation in wholesale markets</a:t>
            </a:r>
            <a:r>
              <a:rPr lang="en-GB" sz="2000"/>
              <a:t>, to harness flexibility of distributed generation assets and demand response.  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2000"/>
              <a:t>Additionally, we intend to highlight the need for </a:t>
            </a:r>
            <a:r>
              <a:rPr lang="en-GB" sz="2000">
                <a:solidFill>
                  <a:schemeClr val="tx2"/>
                </a:solidFill>
              </a:rPr>
              <a:t>further investment in infrastructure and flexible generation capacity </a:t>
            </a:r>
            <a:r>
              <a:rPr lang="en-GB" sz="2000"/>
              <a:t>in South-East Europe. </a:t>
            </a:r>
          </a:p>
          <a:p>
            <a:pPr marL="800100" lvl="1" indent="-34290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20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569CC9A-7253-EA99-0F72-3239F3CC2A82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7-10. General proposal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8893546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C07C45C-114B-8E40-8028-E1EDB24CAAF3}"/>
              </a:ext>
            </a:extLst>
          </p:cNvPr>
          <p:cNvSpPr txBox="1">
            <a:spLocks/>
          </p:cNvSpPr>
          <p:nvPr/>
        </p:nvSpPr>
        <p:spPr>
          <a:xfrm>
            <a:off x="696000" y="666576"/>
            <a:ext cx="10800000" cy="309431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Thank you.</a:t>
            </a:r>
            <a:br>
              <a:rPr lang="en-GB"/>
            </a:br>
            <a:r>
              <a:rPr lang="en-GB"/>
              <a:t>Any questions?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C07C45C-114B-8E40-8028-E1EDB24CAAF3}"/>
              </a:ext>
            </a:extLst>
          </p:cNvPr>
          <p:cNvSpPr txBox="1">
            <a:spLocks/>
          </p:cNvSpPr>
          <p:nvPr/>
        </p:nvSpPr>
        <p:spPr>
          <a:xfrm>
            <a:off x="696000" y="3158835"/>
            <a:ext cx="10800000" cy="97058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2000"/>
          </a:p>
        </p:txBody>
      </p:sp>
      <p:sp>
        <p:nvSpPr>
          <p:cNvPr id="2" name="Rectangle 1"/>
          <p:cNvSpPr/>
          <p:nvPr/>
        </p:nvSpPr>
        <p:spPr>
          <a:xfrm>
            <a:off x="696000" y="4244679"/>
            <a:ext cx="10800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>
                <a:solidFill>
                  <a:schemeClr val="bg1"/>
                </a:solidFill>
              </a:rPr>
              <a:t>The contents of this </a:t>
            </a:r>
            <a:r>
              <a:rPr lang="sl-SI" sz="1200">
                <a:solidFill>
                  <a:schemeClr val="bg1"/>
                </a:solidFill>
              </a:rPr>
              <a:t>document</a:t>
            </a:r>
            <a:r>
              <a:rPr lang="en-GB" sz="1200">
                <a:solidFill>
                  <a:schemeClr val="bg1"/>
                </a:solidFill>
              </a:rPr>
              <a:t> do not necessarily reflect the position or opinion of the Agency.</a:t>
            </a:r>
          </a:p>
        </p:txBody>
      </p:sp>
      <p:sp>
        <p:nvSpPr>
          <p:cNvPr id="5" name="Rectangle 4">
            <a:hlinkClick r:id="rId2"/>
            <a:extLst>
              <a:ext uri="{FF2B5EF4-FFF2-40B4-BE49-F238E27FC236}">
                <a16:creationId xmlns:a16="http://schemas.microsoft.com/office/drawing/2014/main" id="{6134A8AC-09EE-EDAB-4E87-8601D4927581}"/>
              </a:ext>
            </a:extLst>
          </p:cNvPr>
          <p:cNvSpPr/>
          <p:nvPr/>
        </p:nvSpPr>
        <p:spPr>
          <a:xfrm>
            <a:off x="5998440" y="6157110"/>
            <a:ext cx="1383436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hlinkClick r:id="rId3"/>
            <a:extLst>
              <a:ext uri="{FF2B5EF4-FFF2-40B4-BE49-F238E27FC236}">
                <a16:creationId xmlns:a16="http://schemas.microsoft.com/office/drawing/2014/main" id="{C2E6CA39-2CBD-C976-D3C0-0129BEF73584}"/>
              </a:ext>
            </a:extLst>
          </p:cNvPr>
          <p:cNvSpPr/>
          <p:nvPr/>
        </p:nvSpPr>
        <p:spPr>
          <a:xfrm>
            <a:off x="8781798" y="5930057"/>
            <a:ext cx="1060702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hlinkClick r:id="rId4"/>
            <a:extLst>
              <a:ext uri="{FF2B5EF4-FFF2-40B4-BE49-F238E27FC236}">
                <a16:creationId xmlns:a16="http://schemas.microsoft.com/office/drawing/2014/main" id="{BF7B2437-2CD5-1D9B-1E9E-18002C3D28FF}"/>
              </a:ext>
            </a:extLst>
          </p:cNvPr>
          <p:cNvSpPr/>
          <p:nvPr/>
        </p:nvSpPr>
        <p:spPr>
          <a:xfrm>
            <a:off x="8781798" y="6137051"/>
            <a:ext cx="2502151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hlinkClick r:id="rId5"/>
            <a:extLst>
              <a:ext uri="{FF2B5EF4-FFF2-40B4-BE49-F238E27FC236}">
                <a16:creationId xmlns:a16="http://schemas.microsoft.com/office/drawing/2014/main" id="{75B27CC2-BE18-0DFE-A158-DD3981C813BD}"/>
              </a:ext>
            </a:extLst>
          </p:cNvPr>
          <p:cNvSpPr/>
          <p:nvPr/>
        </p:nvSpPr>
        <p:spPr>
          <a:xfrm>
            <a:off x="5998440" y="5929383"/>
            <a:ext cx="1843982" cy="16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80736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80B97-B7F5-C7A4-17A2-DF2545314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ack-up slides</a:t>
            </a:r>
          </a:p>
        </p:txBody>
      </p:sp>
    </p:spTree>
    <p:extLst>
      <p:ext uri="{BB962C8B-B14F-4D97-AF65-F5344CB8AC3E}">
        <p14:creationId xmlns:p14="http://schemas.microsoft.com/office/powerpoint/2010/main" val="35797325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90ED18-25CD-CCAF-2BEB-5662FD400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C671C6-3556-DF31-BE91-8BF28C8CE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2576" y="0"/>
            <a:ext cx="9173424" cy="1080000"/>
          </a:xfrm>
        </p:spPr>
        <p:txBody>
          <a:bodyPr/>
          <a:lstStyle/>
          <a:p>
            <a:r>
              <a:rPr lang="en-GB" sz="3200">
                <a:solidFill>
                  <a:schemeClr val="tx2"/>
                </a:solidFill>
              </a:rPr>
              <a:t>1. Dynamic line rating (DLR)</a:t>
            </a:r>
            <a:br>
              <a:rPr lang="en-GB"/>
            </a:br>
            <a:r>
              <a:rPr lang="en-GB"/>
              <a:t>Example of DLR implem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B6332B-9DF3-6DE4-68B3-6717A9A56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18</a:t>
            </a:fld>
            <a:endParaRPr lang="en-SI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18D4C6C-AD9B-A860-A7CA-785A778932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76192" y="1578907"/>
            <a:ext cx="7027782" cy="4685188"/>
          </a:xfrm>
          <a:prstGeom prst="rect">
            <a:avLst/>
          </a:prstGeom>
        </p:spPr>
      </p:pic>
      <p:sp>
        <p:nvSpPr>
          <p:cNvPr id="9" name="Text Box 1">
            <a:extLst>
              <a:ext uri="{FF2B5EF4-FFF2-40B4-BE49-F238E27FC236}">
                <a16:creationId xmlns:a16="http://schemas.microsoft.com/office/drawing/2014/main" id="{1210314E-8220-DD60-F506-D616E98BC5D3}"/>
              </a:ext>
            </a:extLst>
          </p:cNvPr>
          <p:cNvSpPr txBox="1"/>
          <p:nvPr/>
        </p:nvSpPr>
        <p:spPr>
          <a:xfrm>
            <a:off x="5124449" y="1239682"/>
            <a:ext cx="6340825" cy="179543"/>
          </a:xfrm>
          <a:prstGeom prst="rect">
            <a:avLst/>
          </a:prstGeom>
          <a:solidFill>
            <a:prstClr val="white"/>
          </a:solidFill>
          <a:ln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1000"/>
              </a:spcAft>
            </a:pPr>
            <a:r>
              <a:rPr lang="en-GB" sz="1400" b="1">
                <a:solidFill>
                  <a:schemeClr val="tx2"/>
                </a:solidFill>
              </a:rPr>
              <a:t>Example of implementation of dynamic line rating in capacity calculation on CNE Hradec - </a:t>
            </a:r>
            <a:r>
              <a:rPr lang="en-GB" sz="1400" b="1" err="1">
                <a:solidFill>
                  <a:schemeClr val="tx2"/>
                </a:solidFill>
              </a:rPr>
              <a:t>Mirovka</a:t>
            </a:r>
            <a:r>
              <a:rPr lang="en-GB" sz="1400" b="1">
                <a:solidFill>
                  <a:schemeClr val="tx2"/>
                </a:solidFill>
              </a:rPr>
              <a:t> (MW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224456-3568-0031-B12B-70A4B5DB7B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499" y="1329452"/>
            <a:ext cx="4370846" cy="4842747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>
                <a:latin typeface="Arial"/>
                <a:cs typeface="Arial"/>
              </a:rPr>
              <a:t>Examples of past implementation can serve as reference as to the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expected gains of DLR implementation </a:t>
            </a:r>
            <a:r>
              <a:rPr lang="en-GB" sz="1600">
                <a:latin typeface="Arial"/>
                <a:cs typeface="Arial"/>
              </a:rPr>
              <a:t>in capacity calculation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>
                <a:latin typeface="Arial"/>
                <a:cs typeface="Arial"/>
              </a:rPr>
              <a:t>CNE ‘Hradec-</a:t>
            </a:r>
            <a:r>
              <a:rPr lang="en-GB" sz="1600" err="1">
                <a:latin typeface="Arial"/>
                <a:cs typeface="Arial"/>
              </a:rPr>
              <a:t>Mirovka</a:t>
            </a:r>
            <a:r>
              <a:rPr lang="en-GB" sz="1600">
                <a:latin typeface="Arial"/>
                <a:cs typeface="Arial"/>
              </a:rPr>
              <a:t>‘, operated by CEPS, moved from a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fully fixed rating in 2022 to a dynamic rating in 2024. This resulted in: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89.65% of MTUs </a:t>
            </a:r>
            <a:r>
              <a:rPr lang="en-GB" sz="1600">
                <a:latin typeface="Arial"/>
                <a:cs typeface="Arial"/>
              </a:rPr>
              <a:t>with higher Fmax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sz="1600">
                <a:latin typeface="Arial"/>
                <a:cs typeface="Arial"/>
              </a:rPr>
              <a:t>Fmax on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average 12.95% higher</a:t>
            </a:r>
            <a:r>
              <a:rPr lang="en-GB" sz="1600">
                <a:latin typeface="Arial"/>
                <a:cs typeface="Arial"/>
              </a:rPr>
              <a:t>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Maximum increase </a:t>
            </a:r>
            <a:r>
              <a:rPr lang="en-GB" sz="1600">
                <a:latin typeface="Arial"/>
                <a:cs typeface="Arial"/>
              </a:rPr>
              <a:t>of Fmax of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31.21%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>
                <a:latin typeface="Arial"/>
                <a:cs typeface="Arial"/>
              </a:rPr>
              <a:t>DLR also reveals instances where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fixed rating overestimated the ampacity of the line, </a:t>
            </a:r>
            <a:r>
              <a:rPr lang="en-GB" sz="1600">
                <a:latin typeface="Arial"/>
                <a:cs typeface="Arial"/>
              </a:rPr>
              <a:t>contributing to grid security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9DE15D-56CE-D632-5ED4-480084424C18}"/>
              </a:ext>
            </a:extLst>
          </p:cNvPr>
          <p:cNvSpPr txBox="1"/>
          <p:nvPr/>
        </p:nvSpPr>
        <p:spPr>
          <a:xfrm>
            <a:off x="541782" y="6446887"/>
            <a:ext cx="10056114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ACER calculation based on JAO Publication Tool data.</a:t>
            </a:r>
          </a:p>
        </p:txBody>
      </p:sp>
    </p:spTree>
    <p:extLst>
      <p:ext uri="{BB962C8B-B14F-4D97-AF65-F5344CB8AC3E}">
        <p14:creationId xmlns:p14="http://schemas.microsoft.com/office/powerpoint/2010/main" val="31050000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22D9A-0871-B846-CF52-3F6C1A72DD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D1CAA5-8BC3-9AF7-CE4F-7ADF31BD9E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19</a:t>
            </a:fld>
            <a:endParaRPr lang="en-SI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06BE4D-508A-3E1C-236D-49D7D8097782}"/>
              </a:ext>
            </a:extLst>
          </p:cNvPr>
          <p:cNvSpPr txBox="1"/>
          <p:nvPr/>
        </p:nvSpPr>
        <p:spPr>
          <a:xfrm>
            <a:off x="7378959" y="1585213"/>
            <a:ext cx="3995057" cy="42267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defTabSz="914400">
              <a:spcBef>
                <a:spcPts val="1000"/>
              </a:spcBef>
              <a:buClr>
                <a:srgbClr val="3678BD"/>
              </a:buClr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ogations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 are granted yearly in </a:t>
            </a:r>
            <a:r>
              <a:rPr lang="en-GB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Core Member States, 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with most citing the presence of </a:t>
            </a:r>
            <a:r>
              <a:rPr lang="en-GB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ssive loop flows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 and the lack of a </a:t>
            </a:r>
            <a:r>
              <a:rPr lang="en-GB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rdinated congestion management framework.</a:t>
            </a:r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914400">
              <a:spcBef>
                <a:spcPts val="1000"/>
              </a:spcBef>
              <a:buClr>
                <a:srgbClr val="3678BD"/>
              </a:buClr>
              <a:buFont typeface="Arial" panose="020B0604020202020204" pitchFamily="34" charset="0"/>
              <a:buChar char="•"/>
            </a:pP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AT, BE, NL and PL derogations allow to </a:t>
            </a:r>
            <a:r>
              <a:rPr lang="en-GB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discount’ excessive loop flows 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from capacity requirements.</a:t>
            </a:r>
          </a:p>
          <a:p>
            <a:pPr marL="285750" indent="-285750" algn="just" defTabSz="914400">
              <a:spcBef>
                <a:spcPts val="1000"/>
              </a:spcBef>
              <a:buClr>
                <a:srgbClr val="3678BD"/>
              </a:buClr>
              <a:buFont typeface="Arial" panose="020B0604020202020204" pitchFamily="34" charset="0"/>
              <a:buChar char="•"/>
            </a:pP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Other derogations introduce a </a:t>
            </a:r>
            <a:r>
              <a:rPr lang="en-GB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anket requirement 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(covering all CNECs and/or MTUs), regardless of forecasted non-allocated flows and local RA potential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446DBA9-3CDB-846B-B665-0719EF91CD54}"/>
              </a:ext>
            </a:extLst>
          </p:cNvPr>
          <p:cNvGrpSpPr/>
          <p:nvPr/>
        </p:nvGrpSpPr>
        <p:grpSpPr>
          <a:xfrm>
            <a:off x="722760" y="1585213"/>
            <a:ext cx="6335392" cy="4327190"/>
            <a:chOff x="5593404" y="1112875"/>
            <a:chExt cx="6335392" cy="4327190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38C59543-D763-12AF-5C79-73D22AE95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b="1753"/>
            <a:stretch>
              <a:fillRect/>
            </a:stretch>
          </p:blipFill>
          <p:spPr>
            <a:xfrm>
              <a:off x="5718977" y="1636095"/>
              <a:ext cx="5866675" cy="380397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D82A45A-2CD0-4A66-A493-A74C28336CF9}"/>
                </a:ext>
              </a:extLst>
            </p:cNvPr>
            <p:cNvSpPr txBox="1"/>
            <p:nvPr/>
          </p:nvSpPr>
          <p:spPr>
            <a:xfrm>
              <a:off x="5593404" y="1112875"/>
              <a:ext cx="633539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spcAft>
                  <a:spcPts val="600"/>
                </a:spcAft>
                <a:defRPr sz="1400" b="1">
                  <a:solidFill>
                    <a:srgbClr val="004DEE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indent="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Wingdings" pitchFamily="2" charset="2"/>
                <a:buNone/>
                <a:defRPr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indent="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indent="0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System Font Regular"/>
                <a:buNone/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indent="0">
                <a:lnSpc>
                  <a:spcPct val="90000"/>
                </a:lnSpc>
                <a:spcBef>
                  <a:spcPts val="500"/>
                </a:spcBef>
                <a:buClr>
                  <a:schemeClr val="tx1"/>
                </a:buClr>
                <a:buFont typeface="System Font Regular"/>
                <a:buNone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algn="just"/>
              <a:r>
                <a:rPr lang="en-GB">
                  <a:solidFill>
                    <a:schemeClr val="tx2"/>
                  </a:solidFill>
                </a:rPr>
                <a:t>Minimum requirements for cross-zonal trade in the Core capacity calculation region per Member State – 2024 (% of Fmax)</a:t>
              </a:r>
              <a:endParaRPr lang="en-GB" sz="1050">
                <a:solidFill>
                  <a:schemeClr val="tx2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5D56889-5213-013F-2C91-FDE78C0A37BD}"/>
              </a:ext>
            </a:extLst>
          </p:cNvPr>
          <p:cNvSpPr txBox="1"/>
          <p:nvPr/>
        </p:nvSpPr>
        <p:spPr>
          <a:xfrm>
            <a:off x="356701" y="6417616"/>
            <a:ext cx="10776000" cy="304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 Loop flows correspond to unscheduled physical electricity flows stemming from internal trading that travel through neighbouring transmission network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21A7AF2-7485-54E4-8ED1-6C7CD8819C43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4. Improving 70% derogation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Status of 70% target derogations in Core</a:t>
            </a:r>
          </a:p>
        </p:txBody>
      </p:sp>
    </p:spTree>
    <p:extLst>
      <p:ext uri="{BB962C8B-B14F-4D97-AF65-F5344CB8AC3E}">
        <p14:creationId xmlns:p14="http://schemas.microsoft.com/office/powerpoint/2010/main" val="2526053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594BB7-F419-8F0E-9363-6EBA8A9770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39917-E743-CD37-4C38-AFCBCB941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2347" y="0"/>
            <a:ext cx="9003653" cy="1080000"/>
          </a:xfrm>
        </p:spPr>
        <p:txBody>
          <a:bodyPr/>
          <a:lstStyle/>
          <a:p>
            <a:r>
              <a:rPr lang="en-GB" dirty="0"/>
              <a:t>Introduction to EUTF assess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13D022-811C-49EC-99AA-52D06DC64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2</a:t>
            </a:fld>
            <a:endParaRPr lang="en-S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B0C4F2-BA79-B362-4A14-DA9045A15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4087" y="3800041"/>
            <a:ext cx="5828067" cy="233455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just" defTabSz="457200">
              <a:buNone/>
            </a:pPr>
            <a:r>
              <a:rPr lang="en-GB" sz="1600" b="1" dirty="0">
                <a:solidFill>
                  <a:schemeClr val="tx2"/>
                </a:solidFill>
                <a:latin typeface="+mn-lt"/>
                <a:cs typeface="+mn-cs"/>
              </a:rPr>
              <a:t>Interactions with TSOs and RCCs: </a:t>
            </a:r>
          </a:p>
          <a:p>
            <a:pPr marL="431800" lvl="1" indent="-215900" algn="just">
              <a:spcBef>
                <a:spcPts val="600"/>
              </a:spcBef>
            </a:pPr>
            <a:r>
              <a:rPr lang="en-GB" sz="1400" dirty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rPr>
              <a:t>Questionnaire with the TSOs and RCCs in December/</a:t>
            </a:r>
          </a:p>
          <a:p>
            <a:pPr marL="431800" lvl="1" indent="-215900" algn="just">
              <a:spcBef>
                <a:spcPts val="600"/>
              </a:spcBef>
            </a:pPr>
            <a:r>
              <a:rPr lang="en-GB" sz="1400" dirty="0">
                <a:latin typeface="Arial"/>
                <a:cs typeface="Arial"/>
              </a:rPr>
              <a:t>Discussion with TSOs and RCCs at regular meetings, including sharing of best practices.</a:t>
            </a:r>
          </a:p>
          <a:p>
            <a:pPr marL="647800" lvl="2" indent="-215900" algn="just">
              <a:spcBef>
                <a:spcPts val="600"/>
              </a:spcBef>
            </a:pPr>
            <a:r>
              <a:rPr lang="en-GB" sz="1050" dirty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rPr>
              <a:t>1st working meeting with TSOs and RCCs on 18 December</a:t>
            </a:r>
          </a:p>
          <a:p>
            <a:pPr marL="647800" lvl="2" indent="-215900" algn="just">
              <a:spcBef>
                <a:spcPts val="600"/>
              </a:spcBef>
            </a:pPr>
            <a:r>
              <a:rPr lang="en-GB" sz="1050" dirty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rPr>
              <a:t>2nd working meeting with TSOs and RCCs (30/01)</a:t>
            </a:r>
          </a:p>
          <a:p>
            <a:pPr marL="647800" lvl="2" indent="-215900" algn="just">
              <a:spcBef>
                <a:spcPts val="600"/>
              </a:spcBef>
            </a:pPr>
            <a:r>
              <a:rPr lang="en-GB" sz="1050" dirty="0">
                <a:latin typeface="Arial"/>
                <a:cs typeface="Arial"/>
              </a:rPr>
              <a:t>3rd working meeting with TSOs and RCCs (23/02)</a:t>
            </a:r>
          </a:p>
          <a:p>
            <a:pPr marL="647800" lvl="2" indent="-215900" algn="just">
              <a:spcBef>
                <a:spcPts val="600"/>
              </a:spcBef>
            </a:pPr>
            <a:r>
              <a:rPr lang="en-GB" sz="1050" dirty="0">
                <a:latin typeface="Arial"/>
                <a:cs typeface="Arial"/>
              </a:rPr>
              <a:t>4th working meeting with TSOs and RCCs (TBC)</a:t>
            </a:r>
          </a:p>
          <a:p>
            <a:pPr marL="215900" lvl="1" indent="0" algn="just">
              <a:spcBef>
                <a:spcPts val="600"/>
              </a:spcBef>
              <a:spcAft>
                <a:spcPts val="0"/>
              </a:spcAft>
              <a:buNone/>
            </a:pPr>
            <a:endParaRPr lang="en-GB" sz="1400" dirty="0"/>
          </a:p>
          <a:p>
            <a:pPr marL="431800" lvl="1" indent="-215900" algn="just">
              <a:spcBef>
                <a:spcPts val="600"/>
              </a:spcBef>
              <a:spcAft>
                <a:spcPts val="0"/>
              </a:spcAft>
            </a:pPr>
            <a:endParaRPr lang="en-GB" sz="1400" dirty="0"/>
          </a:p>
          <a:p>
            <a:pPr marL="215900" lvl="1" indent="0" algn="just">
              <a:buNone/>
            </a:pPr>
            <a:endParaRPr lang="en-GB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58CA04-72E4-FFE4-4924-7487CAB4574E}"/>
              </a:ext>
            </a:extLst>
          </p:cNvPr>
          <p:cNvSpPr txBox="1"/>
          <p:nvPr/>
        </p:nvSpPr>
        <p:spPr>
          <a:xfrm>
            <a:off x="7076061" y="1387057"/>
            <a:ext cx="488295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defTabSz="457200">
              <a:buNone/>
            </a:pPr>
            <a:r>
              <a:rPr lang="en-GB" sz="1400">
                <a:latin typeface="+mn-lt"/>
                <a:cs typeface="+mn-cs"/>
              </a:rPr>
              <a:t>Interactions with NRAs, MPs, EUTF: </a:t>
            </a:r>
          </a:p>
        </p:txBody>
      </p: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23800E05-AA96-3FC5-E585-020D1F55AA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0798599"/>
              </p:ext>
            </p:extLst>
          </p:nvPr>
        </p:nvGraphicFramePr>
        <p:xfrm>
          <a:off x="7116318" y="1764885"/>
          <a:ext cx="4818593" cy="39347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C0A60CE-6AA0-26F8-222D-6AAB446D70B5}"/>
              </a:ext>
            </a:extLst>
          </p:cNvPr>
          <p:cNvSpPr txBox="1">
            <a:spLocks/>
          </p:cNvSpPr>
          <p:nvPr/>
        </p:nvSpPr>
        <p:spPr>
          <a:xfrm>
            <a:off x="704087" y="1527047"/>
            <a:ext cx="6143626" cy="430294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indent="-215900" algn="just">
              <a:lnSpc>
                <a:spcPct val="100000"/>
              </a:lnSpc>
            </a:pPr>
            <a:r>
              <a:rPr lang="en-GB" sz="1600" dirty="0"/>
              <a:t>EUTF task for ACER: </a:t>
            </a:r>
            <a:r>
              <a:rPr lang="en-GB" sz="1600" dirty="0">
                <a:solidFill>
                  <a:schemeClr val="tx2"/>
                </a:solidFill>
              </a:rPr>
              <a:t>explore the feasibility of implementing measures to increase cross-zonal capacities and flexibility</a:t>
            </a:r>
            <a:endParaRPr lang="en-US" dirty="0"/>
          </a:p>
          <a:p>
            <a:pPr marL="215900" indent="-215900" algn="just">
              <a:lnSpc>
                <a:spcPct val="100000"/>
              </a:lnSpc>
            </a:pPr>
            <a:r>
              <a:rPr lang="en-GB" sz="1600" dirty="0"/>
              <a:t>Driven by </a:t>
            </a:r>
            <a:r>
              <a:rPr lang="en-GB" sz="1600" dirty="0">
                <a:solidFill>
                  <a:schemeClr val="tx2"/>
                </a:solidFill>
              </a:rPr>
              <a:t>price spikes in SEE </a:t>
            </a:r>
            <a:r>
              <a:rPr lang="en-GB" sz="1600" dirty="0"/>
              <a:t>(during summer 2024):</a:t>
            </a:r>
          </a:p>
          <a:p>
            <a:pPr marL="431900" lvl="1" indent="-215900" algn="just">
              <a:lnSpc>
                <a:spcPct val="100000"/>
              </a:lnSpc>
            </a:pPr>
            <a:r>
              <a:rPr lang="en-GB" sz="1600" dirty="0"/>
              <a:t>Primary focus is SEE+; assessing short-term measures to prevent or mitigate their reoccurrence.</a:t>
            </a:r>
          </a:p>
          <a:p>
            <a:pPr marL="215900" indent="-215900" algn="just">
              <a:lnSpc>
                <a:spcPct val="100000"/>
              </a:lnSpc>
            </a:pPr>
            <a:r>
              <a:rPr lang="en-GB" sz="1600" dirty="0"/>
              <a:t>Also proposing mid- and long-term measures applicable to the entire EU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7B709D-CB1D-BA55-E808-A09ADCF35012}"/>
              </a:ext>
            </a:extLst>
          </p:cNvPr>
          <p:cNvSpPr txBox="1"/>
          <p:nvPr/>
        </p:nvSpPr>
        <p:spPr>
          <a:xfrm>
            <a:off x="598269" y="6439193"/>
            <a:ext cx="61436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-25300" algn="just"/>
            <a:r>
              <a:rPr lang="en-GB" sz="1100"/>
              <a:t>SEE+: CEE and SEE (i.e. from AT and SK to GR)</a:t>
            </a:r>
          </a:p>
        </p:txBody>
      </p:sp>
    </p:spTree>
    <p:extLst>
      <p:ext uri="{BB962C8B-B14F-4D97-AF65-F5344CB8AC3E}">
        <p14:creationId xmlns:p14="http://schemas.microsoft.com/office/powerpoint/2010/main" val="18716922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120CC7-2547-1627-EC54-4BB7E74DC8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459CA-8CDA-1CA1-06D3-E509674C5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6974" y="0"/>
            <a:ext cx="9005025" cy="1080000"/>
          </a:xfrm>
        </p:spPr>
        <p:txBody>
          <a:bodyPr>
            <a:normAutofit fontScale="90000"/>
          </a:bodyPr>
          <a:lstStyle/>
          <a:p>
            <a:r>
              <a:rPr lang="en-GB" sz="2800">
                <a:solidFill>
                  <a:schemeClr val="tx2"/>
                </a:solidFill>
              </a:rPr>
              <a:t>5. Use of curative remedial actions (</a:t>
            </a:r>
            <a:r>
              <a:rPr lang="en-GB" sz="2800" err="1">
                <a:solidFill>
                  <a:schemeClr val="tx2"/>
                </a:solidFill>
              </a:rPr>
              <a:t>cRA</a:t>
            </a:r>
            <a:r>
              <a:rPr lang="en-GB" sz="2800">
                <a:solidFill>
                  <a:schemeClr val="tx2"/>
                </a:solidFill>
              </a:rPr>
              <a:t>)</a:t>
            </a:r>
            <a:br>
              <a:rPr lang="en-GB" sz="2800">
                <a:latin typeface="Arial"/>
                <a:cs typeface="Arial"/>
              </a:rPr>
            </a:br>
            <a:r>
              <a:rPr lang="en-GB" sz="2800">
                <a:latin typeface="Arial"/>
                <a:cs typeface="Arial"/>
              </a:rPr>
              <a:t>Curative remedial actions - Findings from Core CC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29E97-A4C3-AD24-1C44-23C2F188A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20</a:t>
            </a:fld>
            <a:endParaRPr lang="en-SI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73A8B95-E2E9-BB42-673A-80730981429F}"/>
              </a:ext>
            </a:extLst>
          </p:cNvPr>
          <p:cNvSpPr txBox="1">
            <a:spLocks/>
          </p:cNvSpPr>
          <p:nvPr/>
        </p:nvSpPr>
        <p:spPr>
          <a:xfrm>
            <a:off x="696819" y="1335614"/>
            <a:ext cx="4669509" cy="469076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ystem Font Regular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>
                <a:latin typeface="Arial"/>
                <a:cs typeface="Arial"/>
              </a:rPr>
              <a:t>Curative RAs in Core FBMC are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modelled and optimised through NRAO. </a:t>
            </a:r>
            <a:r>
              <a:rPr lang="en-GB" sz="1600">
                <a:latin typeface="Arial"/>
                <a:cs typeface="Arial"/>
              </a:rPr>
              <a:t>TSOs need to explicitly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make available non-costly curative RAs </a:t>
            </a:r>
            <a:r>
              <a:rPr lang="en-GB" sz="1600">
                <a:latin typeface="Arial"/>
                <a:cs typeface="Arial"/>
              </a:rPr>
              <a:t>for specific contingencies.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>
                <a:latin typeface="Arial"/>
                <a:cs typeface="Arial"/>
              </a:rPr>
              <a:t>Optimisation function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maximises relative RAM </a:t>
            </a:r>
            <a:r>
              <a:rPr lang="en-GB" sz="1600">
                <a:latin typeface="Arial"/>
                <a:cs typeface="Arial"/>
              </a:rPr>
              <a:t>on the CNE with lowest relative RAM.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>
                <a:latin typeface="Arial"/>
                <a:cs typeface="Arial"/>
              </a:rPr>
              <a:t>A given </a:t>
            </a:r>
            <a:r>
              <a:rPr lang="en-GB" sz="1600" err="1">
                <a:latin typeface="Arial"/>
                <a:cs typeface="Arial"/>
              </a:rPr>
              <a:t>cRA</a:t>
            </a:r>
            <a:r>
              <a:rPr lang="en-GB" sz="1600">
                <a:latin typeface="Arial"/>
                <a:cs typeface="Arial"/>
              </a:rPr>
              <a:t> may also impact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CNEs introduced by a neighbouring TSO</a:t>
            </a:r>
            <a:r>
              <a:rPr lang="en-GB" sz="1600">
                <a:latin typeface="Arial"/>
                <a:cs typeface="Arial"/>
              </a:rPr>
              <a:t>, provided that they share the contingency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CNECs affected </a:t>
            </a:r>
            <a:r>
              <a:rPr lang="en-GB" sz="1600">
                <a:latin typeface="Arial"/>
                <a:cs typeface="Arial"/>
              </a:rPr>
              <a:t>by a given </a:t>
            </a:r>
            <a:r>
              <a:rPr lang="en-GB" sz="1600" err="1">
                <a:latin typeface="Arial"/>
                <a:cs typeface="Arial"/>
              </a:rPr>
              <a:t>cRA</a:t>
            </a:r>
            <a:r>
              <a:rPr lang="en-GB" sz="1600">
                <a:latin typeface="Arial"/>
                <a:cs typeface="Arial"/>
              </a:rPr>
              <a:t> are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duplicated in CC, </a:t>
            </a:r>
            <a:r>
              <a:rPr lang="en-GB" sz="1600">
                <a:latin typeface="Arial"/>
                <a:cs typeface="Arial"/>
              </a:rPr>
              <a:t>representing the CGM status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before and after the application of the </a:t>
            </a:r>
            <a:r>
              <a:rPr lang="en-GB" sz="1600" err="1">
                <a:solidFill>
                  <a:schemeClr val="tx2"/>
                </a:solidFill>
                <a:latin typeface="Arial"/>
                <a:cs typeface="Arial"/>
              </a:rPr>
              <a:t>cRA</a:t>
            </a:r>
            <a:r>
              <a:rPr lang="en-GB" sz="1600">
                <a:latin typeface="Arial"/>
                <a:cs typeface="Arial"/>
              </a:rPr>
              <a:t>.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>
                <a:latin typeface="Arial"/>
                <a:cs typeface="Arial"/>
              </a:rPr>
              <a:t>Both ‘before </a:t>
            </a:r>
            <a:r>
              <a:rPr lang="en-GB" sz="1600" err="1">
                <a:latin typeface="Arial"/>
                <a:cs typeface="Arial"/>
              </a:rPr>
              <a:t>cRA</a:t>
            </a:r>
            <a:r>
              <a:rPr lang="en-GB" sz="1600">
                <a:latin typeface="Arial"/>
                <a:cs typeface="Arial"/>
              </a:rPr>
              <a:t>’ and ‘after </a:t>
            </a:r>
            <a:r>
              <a:rPr lang="en-GB" sz="1600" err="1">
                <a:latin typeface="Arial"/>
                <a:cs typeface="Arial"/>
              </a:rPr>
              <a:t>cRA</a:t>
            </a:r>
            <a:r>
              <a:rPr lang="en-GB" sz="1600">
                <a:latin typeface="Arial"/>
                <a:cs typeface="Arial"/>
              </a:rPr>
              <a:t>’ status may end up being pre-solved.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C08869E-C973-5E4C-B34E-935F2AB86C03}"/>
              </a:ext>
            </a:extLst>
          </p:cNvPr>
          <p:cNvSpPr txBox="1">
            <a:spLocks/>
          </p:cNvSpPr>
          <p:nvPr/>
        </p:nvSpPr>
        <p:spPr>
          <a:xfrm>
            <a:off x="580112" y="6343316"/>
            <a:ext cx="10891888" cy="473242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</a:rPr>
              <a:t>Fmax = Maximum allowed flow on a network element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</a:rPr>
              <a:t>RA = Remedial action</a:t>
            </a:r>
            <a:endParaRPr lang="en-GB" sz="160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73A849D-C1FF-891A-D3D5-7DE2966E01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1" b="-364"/>
          <a:stretch>
            <a:fillRect/>
          </a:stretch>
        </p:blipFill>
        <p:spPr>
          <a:xfrm>
            <a:off x="5772148" y="1896715"/>
            <a:ext cx="5357577" cy="4249957"/>
          </a:xfrm>
          <a:prstGeom prst="rect">
            <a:avLst/>
          </a:prstGeom>
        </p:spPr>
      </p:pic>
      <p:sp>
        <p:nvSpPr>
          <p:cNvPr id="3" name="Text Box 1">
            <a:extLst>
              <a:ext uri="{FF2B5EF4-FFF2-40B4-BE49-F238E27FC236}">
                <a16:creationId xmlns:a16="http://schemas.microsoft.com/office/drawing/2014/main" id="{48EDECE8-A7D7-D95C-A3A2-EDA83CB48C87}"/>
              </a:ext>
            </a:extLst>
          </p:cNvPr>
          <p:cNvSpPr txBox="1"/>
          <p:nvPr/>
        </p:nvSpPr>
        <p:spPr>
          <a:xfrm>
            <a:off x="5772149" y="1413041"/>
            <a:ext cx="5357577" cy="287031"/>
          </a:xfrm>
          <a:prstGeom prst="rect">
            <a:avLst/>
          </a:prstGeom>
          <a:solidFill>
            <a:prstClr val="white"/>
          </a:solidFill>
          <a:ln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1000"/>
              </a:spcAft>
            </a:pPr>
            <a:r>
              <a:rPr lang="en-GB" sz="1200" b="1">
                <a:solidFill>
                  <a:schemeClr val="tx2"/>
                </a:solidFill>
              </a:rPr>
              <a:t>Usage of curative remedial actions in Core capacity calculation per Core TSO – 2023-2025</a:t>
            </a:r>
          </a:p>
        </p:txBody>
      </p:sp>
    </p:spTree>
    <p:extLst>
      <p:ext uri="{BB962C8B-B14F-4D97-AF65-F5344CB8AC3E}">
        <p14:creationId xmlns:p14="http://schemas.microsoft.com/office/powerpoint/2010/main" val="24721244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C84D40-CEC6-6149-6309-D3211E19A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96E021-2BA8-7E30-F82B-4DF8F94C5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21</a:t>
            </a:fld>
            <a:endParaRPr lang="en-SI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6A7C4A-8AC5-2908-599D-5533B86FAFBB}"/>
              </a:ext>
            </a:extLst>
          </p:cNvPr>
          <p:cNvSpPr txBox="1">
            <a:spLocks/>
          </p:cNvSpPr>
          <p:nvPr/>
        </p:nvSpPr>
        <p:spPr>
          <a:xfrm>
            <a:off x="601229" y="1435003"/>
            <a:ext cx="4328959" cy="4654975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ystem Font Regular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Wingdings" pitchFamily="2" charset="2"/>
              <a:buChar char="§"/>
            </a:pPr>
            <a:r>
              <a:rPr lang="en-GB" sz="1600">
                <a:latin typeface="Arial"/>
                <a:cs typeface="Arial"/>
              </a:rPr>
              <a:t>TSOs provided a summary of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their current practices with regards to curative remedial actions</a:t>
            </a:r>
            <a:r>
              <a:rPr lang="en-GB" sz="1600">
                <a:latin typeface="Arial"/>
                <a:cs typeface="Arial"/>
              </a:rPr>
              <a:t>, both in real-time practices and capacity calculation: </a:t>
            </a:r>
          </a:p>
          <a:p>
            <a:pPr marL="742950" lvl="1" indent="-28575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75% </a:t>
            </a:r>
            <a:r>
              <a:rPr lang="en-GB" sz="1600">
                <a:latin typeface="Arial"/>
                <a:cs typeface="Arial"/>
              </a:rPr>
              <a:t>of TSOs report using curative RAs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 in real time operation</a:t>
            </a:r>
            <a:r>
              <a:rPr lang="en-GB" sz="1600">
                <a:latin typeface="Arial"/>
                <a:cs typeface="Arial"/>
              </a:rPr>
              <a:t>. </a:t>
            </a:r>
          </a:p>
          <a:p>
            <a:pPr marL="742950" lvl="1" indent="-28575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50% </a:t>
            </a:r>
            <a:r>
              <a:rPr lang="en-GB" sz="1600">
                <a:latin typeface="Arial"/>
                <a:cs typeface="Arial"/>
              </a:rPr>
              <a:t>of TSOs report considering </a:t>
            </a: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curative RAs in capacity calculation.</a:t>
            </a:r>
          </a:p>
          <a:p>
            <a:pPr marL="285750" indent="-285750" algn="just">
              <a:buFont typeface="Wingdings" pitchFamily="2" charset="2"/>
              <a:buChar char="§"/>
            </a:pPr>
            <a:r>
              <a:rPr lang="en-GB" sz="1600">
                <a:latin typeface="Arial"/>
                <a:cs typeface="Arial"/>
              </a:rPr>
              <a:t>Some TSOs report using curative RAs in real time processes, but do not consider those in capacity calculation.</a:t>
            </a:r>
          </a:p>
          <a:p>
            <a:pPr marL="285750" indent="-285750" algn="just">
              <a:buFont typeface="Wingdings" pitchFamily="2" charset="2"/>
              <a:buChar char="§"/>
            </a:pPr>
            <a:r>
              <a:rPr lang="en-GB" sz="1600">
                <a:solidFill>
                  <a:schemeClr val="tx2"/>
                </a:solidFill>
                <a:latin typeface="Arial"/>
                <a:cs typeface="Arial"/>
              </a:rPr>
              <a:t>Wider usage of curative RAs observed in SWE and Nordic CCRs</a:t>
            </a:r>
            <a:r>
              <a:rPr lang="en-GB" sz="1600">
                <a:latin typeface="Arial"/>
                <a:cs typeface="Arial"/>
              </a:rPr>
              <a:t>, with more limited rollout in Core and SEE.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F0A9FB4-83CF-B5BB-62A5-0BC0F96E4F8F}"/>
              </a:ext>
            </a:extLst>
          </p:cNvPr>
          <p:cNvSpPr txBox="1">
            <a:spLocks/>
          </p:cNvSpPr>
          <p:nvPr/>
        </p:nvSpPr>
        <p:spPr>
          <a:xfrm>
            <a:off x="422361" y="6436046"/>
            <a:ext cx="10891888" cy="376129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</a:rPr>
              <a:t>RA = remedial action</a:t>
            </a:r>
            <a:endParaRPr lang="en-GB" sz="160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9295224-7BC2-1E15-3C26-86D5DA81330A}"/>
              </a:ext>
            </a:extLst>
          </p:cNvPr>
          <p:cNvGrpSpPr/>
          <p:nvPr/>
        </p:nvGrpSpPr>
        <p:grpSpPr>
          <a:xfrm>
            <a:off x="5157469" y="1510848"/>
            <a:ext cx="5328109" cy="2080650"/>
            <a:chOff x="4884646" y="1878698"/>
            <a:chExt cx="5328109" cy="208065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519F68F-B3DE-BF87-2422-138F95CFAAE2}"/>
                </a:ext>
              </a:extLst>
            </p:cNvPr>
            <p:cNvSpPr txBox="1"/>
            <p:nvPr/>
          </p:nvSpPr>
          <p:spPr>
            <a:xfrm>
              <a:off x="6717631" y="1938585"/>
              <a:ext cx="2667000" cy="27699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buClr>
                  <a:schemeClr val="tx2"/>
                </a:buClr>
              </a:pPr>
              <a:r>
                <a:rPr lang="en-GB" sz="1200">
                  <a:solidFill>
                    <a:srgbClr val="004FEE"/>
                  </a:solidFill>
                  <a:cs typeface="Arial"/>
                </a:rPr>
                <a:t>DE (TenneT)</a:t>
              </a:r>
              <a:endParaRPr lang="en-GB" sz="1200">
                <a:solidFill>
                  <a:srgbClr val="004FEE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DB03BF3-3D95-CB3A-9A97-592FB51659D6}"/>
                </a:ext>
              </a:extLst>
            </p:cNvPr>
            <p:cNvSpPr txBox="1"/>
            <p:nvPr/>
          </p:nvSpPr>
          <p:spPr>
            <a:xfrm>
              <a:off x="7545755" y="2195597"/>
              <a:ext cx="2667000" cy="27699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buClr>
                  <a:schemeClr val="tx2"/>
                </a:buClr>
              </a:pPr>
              <a:r>
                <a:rPr lang="en-GB" sz="1200">
                  <a:solidFill>
                    <a:srgbClr val="004FEE"/>
                  </a:solidFill>
                  <a:cs typeface="Arial"/>
                </a:rPr>
                <a:t>DE (Transnet BW)</a:t>
              </a:r>
              <a:endParaRPr lang="en-GB" sz="1200">
                <a:solidFill>
                  <a:srgbClr val="004FEE"/>
                </a:solidFill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7C1E0A3-243D-8341-104C-E6E100514819}"/>
                </a:ext>
              </a:extLst>
            </p:cNvPr>
            <p:cNvGrpSpPr/>
            <p:nvPr/>
          </p:nvGrpSpPr>
          <p:grpSpPr>
            <a:xfrm>
              <a:off x="4884646" y="1878698"/>
              <a:ext cx="4570516" cy="2080650"/>
              <a:chOff x="4704172" y="1834143"/>
              <a:chExt cx="4570516" cy="2080650"/>
            </a:xfrm>
          </p:grpSpPr>
          <p:pic>
            <p:nvPicPr>
              <p:cNvPr id="13" name="Graphic 12">
                <a:extLst>
                  <a:ext uri="{FF2B5EF4-FFF2-40B4-BE49-F238E27FC236}">
                    <a16:creationId xmlns:a16="http://schemas.microsoft.com/office/drawing/2014/main" id="{472EAE36-E2D6-032E-A904-A4A578128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t="13199" r="46731" b="27169"/>
              <a:stretch>
                <a:fillRect/>
              </a:stretch>
            </p:blipFill>
            <p:spPr>
              <a:xfrm>
                <a:off x="5033211" y="1834143"/>
                <a:ext cx="3701214" cy="2080650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16F87AA-FE12-4D9B-AA7A-2050AF909504}"/>
                  </a:ext>
                </a:extLst>
              </p:cNvPr>
              <p:cNvSpPr txBox="1"/>
              <p:nvPr/>
            </p:nvSpPr>
            <p:spPr>
              <a:xfrm>
                <a:off x="5212944" y="1999949"/>
                <a:ext cx="1309245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Aft>
                    <a:spcPts val="600"/>
                  </a:spcAft>
                  <a:buClr>
                    <a:schemeClr val="tx2"/>
                  </a:buClr>
                </a:pPr>
                <a:r>
                  <a:rPr lang="en-GB" sz="1200">
                    <a:solidFill>
                      <a:srgbClr val="004FEE"/>
                    </a:solidFill>
                    <a:cs typeface="Arial"/>
                  </a:rPr>
                  <a:t>DE (50Hz), BG</a:t>
                </a:r>
                <a:endParaRPr lang="en-GB" sz="1200">
                  <a:solidFill>
                    <a:srgbClr val="004FEE"/>
                  </a:solidFill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A1FD894-14BD-21D8-3124-B68CDEBAF3F4}"/>
                  </a:ext>
                </a:extLst>
              </p:cNvPr>
              <p:cNvSpPr txBox="1"/>
              <p:nvPr/>
            </p:nvSpPr>
            <p:spPr>
              <a:xfrm>
                <a:off x="7752739" y="2758440"/>
                <a:ext cx="1521949" cy="538609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1200">
                    <a:solidFill>
                      <a:srgbClr val="004FEE"/>
                    </a:solidFill>
                    <a:cs typeface="Arial"/>
                  </a:rPr>
                  <a:t>AT, DE (</a:t>
                </a:r>
                <a:r>
                  <a:rPr lang="en-GB" sz="1200" err="1">
                    <a:solidFill>
                      <a:srgbClr val="004FEE"/>
                    </a:solidFill>
                    <a:cs typeface="Arial"/>
                  </a:rPr>
                  <a:t>Amprion</a:t>
                </a:r>
                <a:r>
                  <a:rPr lang="en-GB" sz="1200">
                    <a:solidFill>
                      <a:srgbClr val="004FEE"/>
                    </a:solidFill>
                    <a:cs typeface="Arial"/>
                  </a:rPr>
                  <a:t>), </a:t>
                </a:r>
                <a:endParaRPr lang="en-US">
                  <a:solidFill>
                    <a:srgbClr val="004FEE"/>
                  </a:solidFill>
                </a:endParaRPr>
              </a:p>
              <a:p>
                <a:pPr>
                  <a:spcAft>
                    <a:spcPts val="600"/>
                  </a:spcAft>
                </a:pPr>
                <a:r>
                  <a:rPr lang="en-GB" sz="1200">
                    <a:solidFill>
                      <a:srgbClr val="004FEE"/>
                    </a:solidFill>
                    <a:cs typeface="Arial"/>
                  </a:rPr>
                  <a:t>HR, HU, PT, SI</a:t>
                </a:r>
                <a:endParaRPr lang="en-GB">
                  <a:solidFill>
                    <a:srgbClr val="004FEE"/>
                  </a:solidFill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9516975D-DE26-7E24-C1D0-D7791F951F77}"/>
                  </a:ext>
                </a:extLst>
              </p:cNvPr>
              <p:cNvSpPr txBox="1"/>
              <p:nvPr/>
            </p:nvSpPr>
            <p:spPr>
              <a:xfrm>
                <a:off x="4704172" y="2992551"/>
                <a:ext cx="1421673" cy="800219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Aft>
                    <a:spcPts val="600"/>
                  </a:spcAft>
                  <a:buClr>
                    <a:schemeClr val="tx2"/>
                  </a:buClr>
                </a:pPr>
                <a:r>
                  <a:rPr lang="en-GB" sz="1200">
                    <a:solidFill>
                      <a:srgbClr val="004FEE"/>
                    </a:solidFill>
                    <a:cs typeface="Arial"/>
                  </a:rPr>
                  <a:t>BE, CZ, DK, </a:t>
                </a:r>
                <a:endParaRPr lang="en-US" sz="1200">
                  <a:solidFill>
                    <a:srgbClr val="004FEE"/>
                  </a:solidFill>
                </a:endParaRPr>
              </a:p>
              <a:p>
                <a:pPr>
                  <a:spcAft>
                    <a:spcPts val="600"/>
                  </a:spcAft>
                  <a:buClr>
                    <a:schemeClr val="tx2"/>
                  </a:buClr>
                </a:pPr>
                <a:r>
                  <a:rPr lang="en-GB" sz="1200">
                    <a:solidFill>
                      <a:srgbClr val="004FEE"/>
                    </a:solidFill>
                    <a:cs typeface="Arial"/>
                  </a:rPr>
                  <a:t>ES, FR, GR, LT,</a:t>
                </a:r>
              </a:p>
              <a:p>
                <a:pPr>
                  <a:spcAft>
                    <a:spcPts val="600"/>
                  </a:spcAft>
                </a:pPr>
                <a:r>
                  <a:rPr lang="en-GB" sz="1200">
                    <a:solidFill>
                      <a:srgbClr val="004FEE"/>
                    </a:solidFill>
                    <a:cs typeface="Arial"/>
                  </a:rPr>
                  <a:t>RO, SE</a:t>
                </a:r>
              </a:p>
            </p:txBody>
          </p: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164EE350-3C59-D75D-417D-566D79465A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58263" y="2215815"/>
                <a:ext cx="30078" cy="180473"/>
              </a:xfrm>
              <a:prstGeom prst="straightConnector1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9005E3BA-C292-0088-16A6-BEF671B941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36630" y="2265947"/>
                <a:ext cx="200527" cy="220578"/>
              </a:xfrm>
              <a:prstGeom prst="straightConnector1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9EA517E9-261D-419E-1D2D-C5C7B29E45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49023" y="2396289"/>
                <a:ext cx="130344" cy="100263"/>
              </a:xfrm>
              <a:prstGeom prst="straightConnector1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C127F7C6-172C-231E-BB90-298642CA4B9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601452" y="3069891"/>
                <a:ext cx="172453" cy="88231"/>
              </a:xfrm>
              <a:prstGeom prst="straightConnector1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078B221C-E260-3AC0-8D87-74E03EF7E0B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15358" y="3227451"/>
                <a:ext cx="245752" cy="32826"/>
              </a:xfrm>
              <a:prstGeom prst="straightConnector1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77E6AF1-AE90-7F23-AAC5-11067D38B4E8}"/>
              </a:ext>
            </a:extLst>
          </p:cNvPr>
          <p:cNvGrpSpPr/>
          <p:nvPr/>
        </p:nvGrpSpPr>
        <p:grpSpPr>
          <a:xfrm>
            <a:off x="5072170" y="4091555"/>
            <a:ext cx="4764480" cy="2185941"/>
            <a:chOff x="4525378" y="3946400"/>
            <a:chExt cx="4764480" cy="2185941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C16282D5-1A58-D644-BC8C-8D2C7B6410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468" t="54" r="17077" b="54"/>
            <a:stretch>
              <a:fillRect/>
            </a:stretch>
          </p:blipFill>
          <p:spPr>
            <a:xfrm>
              <a:off x="5623099" y="3946400"/>
              <a:ext cx="2383054" cy="2087479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6757E2A-8A4D-35DD-D2D7-69CE784846E5}"/>
                </a:ext>
              </a:extLst>
            </p:cNvPr>
            <p:cNvSpPr txBox="1"/>
            <p:nvPr/>
          </p:nvSpPr>
          <p:spPr>
            <a:xfrm>
              <a:off x="6805485" y="5855342"/>
              <a:ext cx="960773" cy="27699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buClr>
                  <a:schemeClr val="tx2"/>
                </a:buClr>
              </a:pPr>
              <a:r>
                <a:rPr lang="en-GB" sz="1200">
                  <a:solidFill>
                    <a:srgbClr val="004FEE"/>
                  </a:solidFill>
                  <a:cs typeface="Arial"/>
                </a:rPr>
                <a:t>DE (50Hz)</a:t>
              </a:r>
              <a:endParaRPr lang="en-GB" sz="1200">
                <a:solidFill>
                  <a:srgbClr val="004FEE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103D64B-4613-086C-F1E9-F0D143975E07}"/>
                </a:ext>
              </a:extLst>
            </p:cNvPr>
            <p:cNvSpPr txBox="1"/>
            <p:nvPr/>
          </p:nvSpPr>
          <p:spPr>
            <a:xfrm>
              <a:off x="4525378" y="4074489"/>
              <a:ext cx="1903516" cy="106182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200">
                  <a:solidFill>
                    <a:srgbClr val="004FEE"/>
                  </a:solidFill>
                  <a:cs typeface="Arial"/>
                </a:rPr>
                <a:t>AT, BE, BG, CZ, GR,</a:t>
              </a:r>
              <a:endParaRPr lang="en-US">
                <a:solidFill>
                  <a:srgbClr val="004FEE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en-GB" sz="1200">
                  <a:solidFill>
                    <a:srgbClr val="004FEE"/>
                  </a:solidFill>
                  <a:cs typeface="Arial"/>
                </a:rPr>
                <a:t>DE (</a:t>
              </a:r>
              <a:r>
                <a:rPr lang="en-GB" sz="1200" err="1">
                  <a:solidFill>
                    <a:srgbClr val="004FEE"/>
                  </a:solidFill>
                  <a:cs typeface="Arial"/>
                </a:rPr>
                <a:t>Amprion</a:t>
              </a:r>
              <a:r>
                <a:rPr lang="en-GB" sz="1200">
                  <a:solidFill>
                    <a:srgbClr val="004FEE"/>
                  </a:solidFill>
                  <a:cs typeface="Arial"/>
                </a:rPr>
                <a:t>, TenneT, </a:t>
              </a:r>
              <a:endParaRPr lang="en-GB">
                <a:solidFill>
                  <a:srgbClr val="004FEE"/>
                </a:solidFill>
                <a:cs typeface="Arial"/>
              </a:endParaRPr>
            </a:p>
            <a:p>
              <a:pPr>
                <a:spcAft>
                  <a:spcPts val="600"/>
                </a:spcAft>
              </a:pPr>
              <a:r>
                <a:rPr lang="en-GB" sz="1200">
                  <a:solidFill>
                    <a:srgbClr val="004FEE"/>
                  </a:solidFill>
                  <a:cs typeface="Arial"/>
                </a:rPr>
                <a:t>Transnet BW),</a:t>
              </a:r>
              <a:endParaRPr lang="en-GB">
                <a:solidFill>
                  <a:srgbClr val="004FEE"/>
                </a:solidFill>
                <a:cs typeface="Arial"/>
              </a:endParaRPr>
            </a:p>
            <a:p>
              <a:pPr>
                <a:spcAft>
                  <a:spcPts val="600"/>
                </a:spcAft>
              </a:pPr>
              <a:r>
                <a:rPr lang="en-GB" sz="1200">
                  <a:solidFill>
                    <a:srgbClr val="004FEE"/>
                  </a:solidFill>
                  <a:cs typeface="Arial"/>
                </a:rPr>
                <a:t>HR, RO</a:t>
              </a:r>
              <a:endParaRPr lang="en-GB">
                <a:solidFill>
                  <a:srgbClr val="004FEE"/>
                </a:solidFill>
                <a:cs typeface="Arial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8D1EBB5-6AEC-40F3-F481-7D97884F96B3}"/>
                </a:ext>
              </a:extLst>
            </p:cNvPr>
            <p:cNvSpPr txBox="1"/>
            <p:nvPr/>
          </p:nvSpPr>
          <p:spPr>
            <a:xfrm>
              <a:off x="7905412" y="4368684"/>
              <a:ext cx="1384446" cy="53860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buClr>
                  <a:schemeClr val="tx2"/>
                </a:buClr>
              </a:pPr>
              <a:r>
                <a:rPr lang="en-GB" sz="1200">
                  <a:solidFill>
                    <a:srgbClr val="004FEE"/>
                  </a:solidFill>
                  <a:cs typeface="Arial"/>
                </a:rPr>
                <a:t>DK, ES, FR, HU, </a:t>
              </a:r>
            </a:p>
            <a:p>
              <a:pPr>
                <a:spcAft>
                  <a:spcPts val="600"/>
                </a:spcAft>
              </a:pPr>
              <a:r>
                <a:rPr lang="en-GB" sz="1200">
                  <a:solidFill>
                    <a:srgbClr val="004FEE"/>
                  </a:solidFill>
                  <a:cs typeface="Arial"/>
                </a:rPr>
                <a:t>LT, PT, SE, SI</a:t>
              </a: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04E4DFBB-CCF8-C231-E706-AA24B8FB8431}"/>
                </a:ext>
              </a:extLst>
            </p:cNvPr>
            <p:cNvCxnSpPr>
              <a:cxnSpLocks/>
            </p:cNvCxnSpPr>
            <p:nvPr/>
          </p:nvCxnSpPr>
          <p:spPr>
            <a:xfrm>
              <a:off x="5760040" y="4861039"/>
              <a:ext cx="307575" cy="61881"/>
            </a:xfrm>
            <a:prstGeom prst="straightConnector1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129323A-5381-16BC-4179-66369F12272E}"/>
                </a:ext>
              </a:extLst>
            </p:cNvPr>
            <p:cNvCxnSpPr/>
            <p:nvPr/>
          </p:nvCxnSpPr>
          <p:spPr>
            <a:xfrm flipV="1">
              <a:off x="7569868" y="4832684"/>
              <a:ext cx="320842" cy="180474"/>
            </a:xfrm>
            <a:prstGeom prst="straightConnector1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B85C03B7-CE25-572A-2C4B-0607AF361D30}"/>
                </a:ext>
              </a:extLst>
            </p:cNvPr>
            <p:cNvCxnSpPr>
              <a:cxnSpLocks/>
            </p:cNvCxnSpPr>
            <p:nvPr/>
          </p:nvCxnSpPr>
          <p:spPr>
            <a:xfrm>
              <a:off x="7080828" y="5707005"/>
              <a:ext cx="74700" cy="148337"/>
            </a:xfrm>
            <a:prstGeom prst="straightConnector1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1B653DF3-1C93-EFDB-C407-7FC90BCAA9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4409" t="43496" r="33813" b="35284"/>
          <a:stretch>
            <a:fillRect/>
          </a:stretch>
        </p:blipFill>
        <p:spPr>
          <a:xfrm>
            <a:off x="10014761" y="4785189"/>
            <a:ext cx="942068" cy="565773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2E6432AB-A713-F019-8540-E28CFD01FD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1036" t="37638" r="17854" b="27952"/>
          <a:stretch>
            <a:fillRect/>
          </a:stretch>
        </p:blipFill>
        <p:spPr>
          <a:xfrm>
            <a:off x="9657454" y="2309158"/>
            <a:ext cx="2408511" cy="888008"/>
          </a:xfrm>
          <a:prstGeom prst="rect">
            <a:avLst/>
          </a:prstGeom>
        </p:spPr>
      </p:pic>
      <p:sp>
        <p:nvSpPr>
          <p:cNvPr id="11" name="Text Box 1">
            <a:extLst>
              <a:ext uri="{FF2B5EF4-FFF2-40B4-BE49-F238E27FC236}">
                <a16:creationId xmlns:a16="http://schemas.microsoft.com/office/drawing/2014/main" id="{544D619F-9739-EB9B-0D4E-917E026FBE73}"/>
              </a:ext>
            </a:extLst>
          </p:cNvPr>
          <p:cNvSpPr txBox="1"/>
          <p:nvPr/>
        </p:nvSpPr>
        <p:spPr>
          <a:xfrm>
            <a:off x="5157469" y="1309703"/>
            <a:ext cx="4130400" cy="287031"/>
          </a:xfrm>
          <a:prstGeom prst="rect">
            <a:avLst/>
          </a:prstGeom>
          <a:solidFill>
            <a:prstClr val="white"/>
          </a:solidFill>
          <a:ln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1000"/>
              </a:spcAft>
            </a:pPr>
            <a:r>
              <a:rPr lang="en-GB" sz="1200" b="1">
                <a:solidFill>
                  <a:schemeClr val="tx2"/>
                </a:solidFill>
              </a:rPr>
              <a:t>Reported usage of curative RAs in real-time processes</a:t>
            </a:r>
          </a:p>
        </p:txBody>
      </p:sp>
      <p:sp>
        <p:nvSpPr>
          <p:cNvPr id="14" name="Text Box 1">
            <a:extLst>
              <a:ext uri="{FF2B5EF4-FFF2-40B4-BE49-F238E27FC236}">
                <a16:creationId xmlns:a16="http://schemas.microsoft.com/office/drawing/2014/main" id="{7867120D-8CAD-8B07-4E75-D85568000800}"/>
              </a:ext>
            </a:extLst>
          </p:cNvPr>
          <p:cNvSpPr txBox="1"/>
          <p:nvPr/>
        </p:nvSpPr>
        <p:spPr>
          <a:xfrm>
            <a:off x="5157468" y="3804895"/>
            <a:ext cx="4130400" cy="287031"/>
          </a:xfrm>
          <a:prstGeom prst="rect">
            <a:avLst/>
          </a:prstGeom>
          <a:solidFill>
            <a:prstClr val="white"/>
          </a:solidFill>
          <a:ln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1000"/>
              </a:spcAft>
            </a:pPr>
            <a:r>
              <a:rPr lang="en-GB" sz="1200" b="1">
                <a:solidFill>
                  <a:schemeClr val="tx2"/>
                </a:solidFill>
              </a:rPr>
              <a:t>Reported usage of curative RAs in capacity calculation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E5C0515-E28F-48B0-48F2-6A36A90FA63E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5. Use of curative remedial actions (</a:t>
            </a:r>
            <a:r>
              <a:rPr lang="en-GB" sz="2400" err="1">
                <a:solidFill>
                  <a:schemeClr val="tx2"/>
                </a:solidFill>
              </a:rPr>
              <a:t>cRA</a:t>
            </a:r>
            <a:r>
              <a:rPr lang="en-GB" sz="2400">
                <a:solidFill>
                  <a:schemeClr val="tx2"/>
                </a:solidFill>
              </a:rPr>
              <a:t>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 err="1"/>
              <a:t>cRA</a:t>
            </a:r>
            <a:r>
              <a:rPr lang="en-GB" sz="2400"/>
              <a:t> – current practices</a:t>
            </a:r>
          </a:p>
        </p:txBody>
      </p:sp>
    </p:spTree>
    <p:extLst>
      <p:ext uri="{BB962C8B-B14F-4D97-AF65-F5344CB8AC3E}">
        <p14:creationId xmlns:p14="http://schemas.microsoft.com/office/powerpoint/2010/main" val="21508858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33A299-2EF2-2EE0-CCD3-2DF40D48D6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8C1B37-6D1E-B1FD-4422-BED1BA778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22</a:t>
            </a:fld>
            <a:endParaRPr lang="en-S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C68C8CF-D157-540E-214A-B414938B08C8}"/>
              </a:ext>
            </a:extLst>
          </p:cNvPr>
          <p:cNvSpPr txBox="1">
            <a:spLocks/>
          </p:cNvSpPr>
          <p:nvPr/>
        </p:nvSpPr>
        <p:spPr>
          <a:xfrm>
            <a:off x="3414774" y="0"/>
            <a:ext cx="8024712" cy="1080000"/>
          </a:xfrm>
          <a:prstGeom prst="rect">
            <a:avLst/>
          </a:prstGeom>
        </p:spPr>
        <p:txBody>
          <a:bodyPr vert="horz" lIns="0" tIns="180000" rIns="0" bIns="180000" rtlCol="0" anchor="ctr">
            <a:norm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S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243C27E-C9C6-0F9C-1625-2479E1456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0270" y="0"/>
            <a:ext cx="8715730" cy="1070146"/>
          </a:xfrm>
        </p:spPr>
        <p:txBody>
          <a:bodyPr/>
          <a:lstStyle/>
          <a:p>
            <a:r>
              <a:rPr lang="en-GB" sz="3200">
                <a:solidFill>
                  <a:schemeClr val="tx2"/>
                </a:solidFill>
              </a:rPr>
              <a:t>6. Improvement of grid modelling</a:t>
            </a:r>
            <a:br>
              <a:rPr lang="en-GB"/>
            </a:br>
            <a:r>
              <a:rPr lang="en-GB"/>
              <a:t>CGM improvement roadmap from Core TSOs</a:t>
            </a:r>
            <a:endParaRPr lang="en-GB" b="0"/>
          </a:p>
        </p:txBody>
      </p:sp>
      <p:sp>
        <p:nvSpPr>
          <p:cNvPr id="8" name="Triangle 333">
            <a:extLst>
              <a:ext uri="{FF2B5EF4-FFF2-40B4-BE49-F238E27FC236}">
                <a16:creationId xmlns:a16="http://schemas.microsoft.com/office/drawing/2014/main" id="{EFF4EC7D-1FFE-BF35-F834-833E213B0FA8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6229312" y="5583987"/>
            <a:ext cx="197408" cy="217966"/>
          </a:xfrm>
          <a:prstGeom prst="triangle">
            <a:avLst>
              <a:gd name="adj" fmla="val 46067"/>
            </a:avLst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7" tIns="42203" rIns="84407" bIns="42203" numCol="1" rtlCol="0" anchor="t" anchorCtr="0" compatLnSpc="1">
            <a:prstTxWarp prst="textNoShape">
              <a:avLst/>
            </a:prstTxWarp>
          </a:bodyPr>
          <a:lstStyle/>
          <a:p>
            <a:pPr defTabSz="844048" eaLnBrk="0" hangingPunct="0">
              <a:defRPr/>
            </a:pPr>
            <a:endParaRPr lang="en-GB" sz="1662" kern="0" noProof="1">
              <a:solidFill>
                <a:prstClr val="black"/>
              </a:solidFill>
              <a:latin typeface="Arial Unicode MS" charset="0"/>
              <a:ea typeface="ＭＳ Ｐゴシック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944FDA-81B2-B82E-4205-2E530E489960}"/>
              </a:ext>
            </a:extLst>
          </p:cNvPr>
          <p:cNvSpPr txBox="1"/>
          <p:nvPr/>
        </p:nvSpPr>
        <p:spPr>
          <a:xfrm>
            <a:off x="6442413" y="5569022"/>
            <a:ext cx="32607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1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ea typeface="Arial Unicode MS" panose="020B0604020202020204" pitchFamily="34" charset="-128"/>
                <a:cs typeface="Arial" panose="020B0604020202020204" pitchFamily="34" charset="0"/>
              </a:rPr>
              <a:t>Developments related to ACER recommendation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D95B61-5FDA-AD26-AE33-DAC1856E375C}"/>
              </a:ext>
            </a:extLst>
          </p:cNvPr>
          <p:cNvSpPr txBox="1"/>
          <p:nvPr/>
        </p:nvSpPr>
        <p:spPr>
          <a:xfrm>
            <a:off x="6456573" y="5886006"/>
            <a:ext cx="43509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1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ea typeface="Arial Unicode MS" panose="020B0604020202020204" pitchFamily="34" charset="-128"/>
                <a:cs typeface="Arial" panose="020B0604020202020204" pitchFamily="34" charset="0"/>
              </a:rPr>
              <a:t>Other Developments</a:t>
            </a:r>
          </a:p>
        </p:txBody>
      </p:sp>
      <p:sp>
        <p:nvSpPr>
          <p:cNvPr id="12" name="Triangle 333">
            <a:extLst>
              <a:ext uri="{FF2B5EF4-FFF2-40B4-BE49-F238E27FC236}">
                <a16:creationId xmlns:a16="http://schemas.microsoft.com/office/drawing/2014/main" id="{3EDAE4F2-0975-9DBF-056D-BB76AA9F4029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6229312" y="5881025"/>
            <a:ext cx="197408" cy="217966"/>
          </a:xfrm>
          <a:prstGeom prst="triangle">
            <a:avLst>
              <a:gd name="adj" fmla="val 46067"/>
            </a:avLst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7" tIns="42203" rIns="84407" bIns="42203" numCol="1" rtlCol="0" anchor="t" anchorCtr="0" compatLnSpc="1">
            <a:prstTxWarp prst="textNoShape">
              <a:avLst/>
            </a:prstTxWarp>
          </a:bodyPr>
          <a:lstStyle/>
          <a:p>
            <a:pPr defTabSz="844048" eaLnBrk="0" hangingPunct="0">
              <a:defRPr/>
            </a:pPr>
            <a:endParaRPr lang="en-GB" sz="1662" kern="0" noProof="1">
              <a:solidFill>
                <a:prstClr val="black"/>
              </a:solidFill>
              <a:latin typeface="Arial Unicode MS" charset="0"/>
              <a:ea typeface="ＭＳ Ｐゴシック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2E7B36-800C-AB6A-4E96-9A65C01125B8}"/>
              </a:ext>
            </a:extLst>
          </p:cNvPr>
          <p:cNvSpPr txBox="1"/>
          <p:nvPr/>
        </p:nvSpPr>
        <p:spPr>
          <a:xfrm>
            <a:off x="1677728" y="5640788"/>
            <a:ext cx="496855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noProof="1">
                <a:solidFill>
                  <a:srgbClr val="5F5F5F"/>
                </a:solidFill>
                <a:latin typeface="Arial"/>
                <a:ea typeface="ＭＳ Ｐゴシック"/>
                <a:cs typeface="Arial"/>
              </a:rPr>
              <a:t>* exact timeline and geographical scope is subject to further technical assessment</a:t>
            </a:r>
            <a:endParaRPr lang="en-GB" sz="1400" noProof="1">
              <a:solidFill>
                <a:srgbClr val="5F5F5F"/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noProof="1">
                <a:solidFill>
                  <a:srgbClr val="5F5F5F"/>
                </a:solidFill>
                <a:latin typeface="Arial"/>
                <a:ea typeface="ＭＳ Ｐゴシック"/>
                <a:cs typeface="Arial"/>
              </a:rPr>
              <a:t>**to be confirmed in February '26 once further assessing vendor and TSO readiness</a:t>
            </a:r>
            <a:endParaRPr lang="en-GB" sz="900" noProof="1">
              <a:solidFill>
                <a:srgbClr val="5F5F5F"/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212CD13-62A7-81DC-7830-DBBCEE930DBE}"/>
              </a:ext>
            </a:extLst>
          </p:cNvPr>
          <p:cNvGrpSpPr/>
          <p:nvPr/>
        </p:nvGrpSpPr>
        <p:grpSpPr>
          <a:xfrm>
            <a:off x="2631724" y="1416552"/>
            <a:ext cx="6928553" cy="4077965"/>
            <a:chOff x="513190" y="1055619"/>
            <a:chExt cx="6928553" cy="4077965"/>
          </a:xfrm>
        </p:grpSpPr>
        <p:sp>
          <p:nvSpPr>
            <p:cNvPr id="15" name="Text Placeholder 2">
              <a:extLst>
                <a:ext uri="{FF2B5EF4-FFF2-40B4-BE49-F238E27FC236}">
                  <a16:creationId xmlns:a16="http://schemas.microsoft.com/office/drawing/2014/main" id="{8B8D66FB-11E5-B07E-E4D1-E50406A0AC23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675100" y="1055619"/>
              <a:ext cx="387350" cy="150813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chemeClr val="tx1"/>
              </a:solidFill>
            </a:ln>
            <a:effectLst/>
          </p:spPr>
          <p:txBody>
            <a:bodyPr vert="horz" wrap="none" lIns="0" tIns="14288" rIns="0" bIns="14288" numCol="1" spcCol="0" rtlCol="0" anchor="ctr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 algn="ctr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FFFFFF"/>
                  </a:solidFill>
                  <a:latin typeface="Arial"/>
                </a:rPr>
                <a:t>2025</a:t>
              </a:r>
            </a:p>
          </p:txBody>
        </p:sp>
        <p:sp>
          <p:nvSpPr>
            <p:cNvPr id="16" name="Text Placeholder 2">
              <a:extLst>
                <a:ext uri="{FF2B5EF4-FFF2-40B4-BE49-F238E27FC236}">
                  <a16:creationId xmlns:a16="http://schemas.microsoft.com/office/drawing/2014/main" id="{6BC28E5B-15AC-D2DA-EBB4-B12ED6DE9FFF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062450" y="1055619"/>
              <a:ext cx="1538288" cy="150813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chemeClr val="tx1"/>
              </a:solidFill>
            </a:ln>
            <a:effectLst/>
          </p:spPr>
          <p:txBody>
            <a:bodyPr vert="horz" wrap="none" lIns="0" tIns="14288" rIns="0" bIns="14288" numCol="1" spcCol="0" rtlCol="0" anchor="ctr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 algn="ctr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FFFFFF"/>
                  </a:solidFill>
                  <a:latin typeface="Arial"/>
                </a:rPr>
                <a:t>2026</a:t>
              </a:r>
            </a:p>
          </p:txBody>
        </p:sp>
        <p:sp>
          <p:nvSpPr>
            <p:cNvPr id="17" name="Text Placeholder 2">
              <a:extLst>
                <a:ext uri="{FF2B5EF4-FFF2-40B4-BE49-F238E27FC236}">
                  <a16:creationId xmlns:a16="http://schemas.microsoft.com/office/drawing/2014/main" id="{0CA456E7-ED10-3A46-D2AA-3D7E5ECC4695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6600739" y="1055619"/>
              <a:ext cx="382586" cy="150813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chemeClr val="tx1"/>
              </a:solidFill>
            </a:ln>
            <a:effectLst/>
          </p:spPr>
          <p:txBody>
            <a:bodyPr vert="horz" wrap="none" lIns="0" tIns="14288" rIns="0" bIns="14288" numCol="1" spcCol="0" rtlCol="0" anchor="ctr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 algn="ctr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FFFFFF"/>
                  </a:solidFill>
                  <a:latin typeface="Arial"/>
                </a:rPr>
                <a:t>2027</a:t>
              </a:r>
            </a:p>
          </p:txBody>
        </p:sp>
        <p:sp>
          <p:nvSpPr>
            <p:cNvPr id="18" name="Text Placeholder 2">
              <a:extLst>
                <a:ext uri="{FF2B5EF4-FFF2-40B4-BE49-F238E27FC236}">
                  <a16:creationId xmlns:a16="http://schemas.microsoft.com/office/drawing/2014/main" id="{344ADAA0-1E0A-5D4C-F988-5967913B5390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75100" y="1206432"/>
              <a:ext cx="387350" cy="150813"/>
            </a:xfrm>
            <a:prstGeom prst="rect">
              <a:avLst/>
            </a:prstGeom>
            <a:solidFill>
              <a:srgbClr val="D6D7D9"/>
            </a:solidFill>
            <a:ln w="9525">
              <a:solidFill>
                <a:schemeClr val="tx1"/>
              </a:solidFill>
            </a:ln>
            <a:effectLst/>
          </p:spPr>
          <p:txBody>
            <a:bodyPr vert="horz" wrap="none" lIns="0" tIns="14288" rIns="0" bIns="14288" numCol="1" spcCol="0" rtlCol="0" anchor="ctr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 algn="ctr">
                <a:spcBef>
                  <a:spcPct val="0"/>
                </a:spcBef>
                <a:buNone/>
              </a:pPr>
              <a:fld id="{A1FFB419-6B5C-4C71-A560-B97906CE8DCF}" type="datetime'''''''''''''''''''''''''''''''''Q''''4'''''''''''''">
                <a:rPr lang="en-GB" sz="800" b="1" noProof="1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</a:rPr>
                <a:pPr marL="0" lvl="1" indent="0" algn="ctr">
                  <a:spcBef>
                    <a:spcPct val="0"/>
                  </a:spcBef>
                  <a:buNone/>
                </a:pPr>
                <a:t>Q4</a:t>
              </a:fld>
              <a:endParaRPr lang="en-GB" sz="800" b="1" noProof="1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19" name="Text Placeholder 2">
              <a:extLst>
                <a:ext uri="{FF2B5EF4-FFF2-40B4-BE49-F238E27FC236}">
                  <a16:creationId xmlns:a16="http://schemas.microsoft.com/office/drawing/2014/main" id="{191C20F9-0359-067C-A79C-D6C9CB6AC4AE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062451" y="1206432"/>
              <a:ext cx="379413" cy="150813"/>
            </a:xfrm>
            <a:prstGeom prst="rect">
              <a:avLst/>
            </a:prstGeom>
            <a:solidFill>
              <a:srgbClr val="D6D7D9"/>
            </a:solidFill>
            <a:ln w="9525">
              <a:solidFill>
                <a:schemeClr val="tx1"/>
              </a:solidFill>
            </a:ln>
            <a:effectLst/>
          </p:spPr>
          <p:txBody>
            <a:bodyPr vert="horz" wrap="none" lIns="0" tIns="14288" rIns="0" bIns="14288" numCol="1" spcCol="0" rtlCol="0" anchor="ctr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 algn="ctr">
                <a:spcBef>
                  <a:spcPct val="0"/>
                </a:spcBef>
                <a:buNone/>
              </a:pPr>
              <a:fld id="{F15E2C30-06E0-49C8-8853-191F8B67061B}" type="datetime'''''''''''''''''''Q1'''''''''''''''''''''''''''''">
                <a:rPr lang="en-GB" sz="800" b="1" noProof="1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</a:rPr>
                <a:pPr marL="0" lvl="1" indent="0" algn="ctr">
                  <a:spcBef>
                    <a:spcPct val="0"/>
                  </a:spcBef>
                  <a:buNone/>
                </a:pPr>
                <a:t>Q1</a:t>
              </a:fld>
              <a:endParaRPr lang="en-GB" sz="800" b="1" noProof="1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20" name="Text Placeholder 2">
              <a:extLst>
                <a:ext uri="{FF2B5EF4-FFF2-40B4-BE49-F238E27FC236}">
                  <a16:creationId xmlns:a16="http://schemas.microsoft.com/office/drawing/2014/main" id="{E18FC642-AD03-2274-3516-DA3B2EC09A03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441863" y="1206432"/>
              <a:ext cx="384175" cy="150813"/>
            </a:xfrm>
            <a:prstGeom prst="rect">
              <a:avLst/>
            </a:prstGeom>
            <a:solidFill>
              <a:srgbClr val="D6D7D9"/>
            </a:solidFill>
            <a:ln w="9525">
              <a:solidFill>
                <a:schemeClr val="tx1"/>
              </a:solidFill>
            </a:ln>
            <a:effectLst/>
          </p:spPr>
          <p:txBody>
            <a:bodyPr vert="horz" wrap="none" lIns="0" tIns="14288" rIns="0" bIns="14288" numCol="1" spcCol="0" rtlCol="0" anchor="ctr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 algn="ctr">
                <a:spcBef>
                  <a:spcPct val="0"/>
                </a:spcBef>
                <a:buNone/>
              </a:pPr>
              <a:fld id="{6F9EFEAD-EA95-4687-B5EE-29B1742D24D8}" type="datetime'''''''''''''''''''''''''''''''Q''2'">
                <a:rPr lang="en-GB" sz="800" b="1" noProof="1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</a:rPr>
                <a:pPr marL="0" lvl="1" indent="0" algn="ctr">
                  <a:spcBef>
                    <a:spcPct val="0"/>
                  </a:spcBef>
                  <a:buNone/>
                </a:pPr>
                <a:t>Q2</a:t>
              </a:fld>
              <a:endParaRPr lang="en-GB" sz="800" b="1" noProof="1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21" name="Text Placeholder 2">
              <a:extLst>
                <a:ext uri="{FF2B5EF4-FFF2-40B4-BE49-F238E27FC236}">
                  <a16:creationId xmlns:a16="http://schemas.microsoft.com/office/drawing/2014/main" id="{022A1212-FAC6-6CA4-E83A-B0CC653B8FE5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826037" y="1206432"/>
              <a:ext cx="387350" cy="150813"/>
            </a:xfrm>
            <a:prstGeom prst="rect">
              <a:avLst/>
            </a:prstGeom>
            <a:solidFill>
              <a:srgbClr val="D6D7D9"/>
            </a:solidFill>
            <a:ln w="9525">
              <a:solidFill>
                <a:schemeClr val="tx1"/>
              </a:solidFill>
            </a:ln>
            <a:effectLst/>
          </p:spPr>
          <p:txBody>
            <a:bodyPr vert="horz" wrap="none" lIns="0" tIns="14288" rIns="0" bIns="14288" numCol="1" spcCol="0" rtlCol="0" anchor="ctr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 algn="ctr">
                <a:spcBef>
                  <a:spcPct val="0"/>
                </a:spcBef>
                <a:buNone/>
              </a:pPr>
              <a:fld id="{82E07FBD-1B73-423F-9D7D-50548B4578F7}" type="datetime'''''''''''''''''''''''''''''''''Q''''''''''''''3'''''''''''''">
                <a:rPr lang="en-GB" sz="800" b="1" noProof="1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</a:rPr>
                <a:pPr marL="0" lvl="1" indent="0" algn="ctr">
                  <a:spcBef>
                    <a:spcPct val="0"/>
                  </a:spcBef>
                  <a:buNone/>
                </a:pPr>
                <a:t>Q3</a:t>
              </a:fld>
              <a:endParaRPr lang="en-GB" sz="800" b="1" noProof="1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22" name="Text Placeholder 2">
              <a:extLst>
                <a:ext uri="{FF2B5EF4-FFF2-40B4-BE49-F238E27FC236}">
                  <a16:creationId xmlns:a16="http://schemas.microsoft.com/office/drawing/2014/main" id="{55E9C591-4252-C55F-FD22-9DE11D36E34C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6213387" y="1206432"/>
              <a:ext cx="387350" cy="150813"/>
            </a:xfrm>
            <a:prstGeom prst="rect">
              <a:avLst/>
            </a:prstGeom>
            <a:solidFill>
              <a:srgbClr val="D6D7D9"/>
            </a:solidFill>
            <a:ln w="9525">
              <a:solidFill>
                <a:schemeClr val="tx1"/>
              </a:solidFill>
            </a:ln>
            <a:effectLst/>
          </p:spPr>
          <p:txBody>
            <a:bodyPr vert="horz" wrap="none" lIns="0" tIns="14288" rIns="0" bIns="14288" numCol="1" spcCol="0" rtlCol="0" anchor="ctr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 algn="ctr">
                <a:spcBef>
                  <a:spcPct val="0"/>
                </a:spcBef>
                <a:buNone/>
              </a:pPr>
              <a:fld id="{4C807197-8B64-490F-84CB-590CF28AA909}" type="datetime'''Q''''''4'''''''''">
                <a:rPr lang="en-GB" sz="800" b="1" noProof="1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</a:rPr>
                <a:pPr marL="0" lvl="1" indent="0" algn="ctr">
                  <a:spcBef>
                    <a:spcPct val="0"/>
                  </a:spcBef>
                  <a:buNone/>
                </a:pPr>
                <a:t>Q4</a:t>
              </a:fld>
              <a:endParaRPr lang="en-GB" sz="800" b="1" noProof="1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23" name="Text Placeholder 2">
              <a:extLst>
                <a:ext uri="{FF2B5EF4-FFF2-40B4-BE49-F238E27FC236}">
                  <a16:creationId xmlns:a16="http://schemas.microsoft.com/office/drawing/2014/main" id="{3D66E49D-86A3-88BB-2013-A349947BE2CC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6600738" y="1206432"/>
              <a:ext cx="384175" cy="150813"/>
            </a:xfrm>
            <a:prstGeom prst="rect">
              <a:avLst/>
            </a:prstGeom>
            <a:solidFill>
              <a:srgbClr val="D6D7D9"/>
            </a:solidFill>
            <a:ln w="9525">
              <a:solidFill>
                <a:schemeClr val="tx1"/>
              </a:solidFill>
            </a:ln>
            <a:effectLst/>
          </p:spPr>
          <p:txBody>
            <a:bodyPr vert="horz" wrap="none" lIns="0" tIns="14288" rIns="0" bIns="14288" numCol="1" spcCol="0" rtlCol="0" anchor="ctr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 algn="ctr">
                <a:spcBef>
                  <a:spcPct val="0"/>
                </a:spcBef>
                <a:buNone/>
              </a:pPr>
              <a:fld id="{5C77BE0B-F789-4B45-826A-D93D9CD0B311}" type="datetime'Q''''''''''''''''''''''''''''''''''''1'''''">
                <a:rPr lang="en-GB" sz="800" b="1" noProof="1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</a:rPr>
                <a:pPr marL="0" lvl="1" indent="0" algn="ctr">
                  <a:spcBef>
                    <a:spcPct val="0"/>
                  </a:spcBef>
                  <a:buNone/>
                </a:pPr>
                <a:t>Q1</a:t>
              </a:fld>
              <a:endParaRPr lang="en-GB" sz="800" b="1" noProof="1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FC0DF90-7FD1-FD03-B1C0-E73DFB521703}"/>
                </a:ext>
              </a:extLst>
            </p:cNvPr>
            <p:cNvCxnSpPr>
              <a:cxnSpLocks/>
              <a:stCxn id="17" idx="1"/>
            </p:cNvCxnSpPr>
            <p:nvPr>
              <p:custDataLst>
                <p:tags r:id="rId12"/>
              </p:custDataLst>
            </p:nvPr>
          </p:nvCxnSpPr>
          <p:spPr bwMode="auto">
            <a:xfrm flipH="1">
              <a:off x="6600737" y="1131026"/>
              <a:ext cx="2" cy="4000177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589A5EA-74C1-79D8-25D8-D4C87466D921}"/>
                </a:ext>
              </a:extLst>
            </p:cNvPr>
            <p:cNvCxnSpPr>
              <a:cxnSpLocks/>
            </p:cNvCxnSpPr>
            <p:nvPr>
              <p:custDataLst>
                <p:tags r:id="rId13"/>
              </p:custDataLst>
            </p:nvPr>
          </p:nvCxnSpPr>
          <p:spPr bwMode="auto">
            <a:xfrm flipH="1">
              <a:off x="4675099" y="1357244"/>
              <a:ext cx="1" cy="377425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E4AA12C-B9F0-C459-50CC-EBB70F6CAD31}"/>
                </a:ext>
              </a:extLst>
            </p:cNvPr>
            <p:cNvCxnSpPr>
              <a:cxnSpLocks/>
            </p:cNvCxnSpPr>
            <p:nvPr>
              <p:custDataLst>
                <p:tags r:id="rId14"/>
              </p:custDataLst>
            </p:nvPr>
          </p:nvCxnSpPr>
          <p:spPr bwMode="auto">
            <a:xfrm>
              <a:off x="517953" y="1357244"/>
              <a:ext cx="10597" cy="3771574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7828787-57A0-104D-DFFC-5DAAD4466CC7}"/>
                </a:ext>
              </a:extLst>
            </p:cNvPr>
            <p:cNvCxnSpPr>
              <a:cxnSpLocks/>
            </p:cNvCxnSpPr>
            <p:nvPr>
              <p:custDataLst>
                <p:tags r:id="rId15"/>
              </p:custDataLst>
            </p:nvPr>
          </p:nvCxnSpPr>
          <p:spPr bwMode="auto">
            <a:xfrm>
              <a:off x="5062450" y="1357244"/>
              <a:ext cx="0" cy="3774250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587D1DE-E03E-63F0-E06C-CB012FE11FB8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 bwMode="auto">
            <a:xfrm>
              <a:off x="6984912" y="1206432"/>
              <a:ext cx="0" cy="3924769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DCBB946-831A-45F4-B3CF-86B55EC7EA70}"/>
                </a:ext>
              </a:extLst>
            </p:cNvPr>
            <p:cNvCxnSpPr>
              <a:cxnSpLocks/>
            </p:cNvCxnSpPr>
            <p:nvPr>
              <p:custDataLst>
                <p:tags r:id="rId17"/>
              </p:custDataLst>
            </p:nvPr>
          </p:nvCxnSpPr>
          <p:spPr bwMode="auto">
            <a:xfrm>
              <a:off x="6213387" y="1206432"/>
              <a:ext cx="0" cy="3927152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294B80BB-F243-49FC-FFDD-A95B068D3677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 bwMode="auto">
            <a:xfrm flipH="1">
              <a:off x="5813571" y="1357244"/>
              <a:ext cx="12466" cy="3774250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CB50D1B-BDD0-993D-7BDF-FE1BBE4FE217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 bwMode="auto">
            <a:xfrm>
              <a:off x="5441862" y="1357244"/>
              <a:ext cx="7937" cy="3774250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89BB280-DE96-E0AD-0F44-A5DE6D11DA32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 bwMode="auto">
            <a:xfrm>
              <a:off x="513190" y="2632007"/>
              <a:ext cx="6470135" cy="45642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BE6D61F4-5C62-36B0-3A02-C54FD419C274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 bwMode="auto">
            <a:xfrm>
              <a:off x="542600" y="3793422"/>
              <a:ext cx="6440725" cy="50481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A25973E-8905-D4C5-34BC-8C3A794106F0}"/>
                </a:ext>
              </a:extLst>
            </p:cNvPr>
            <p:cNvCxnSpPr>
              <a:cxnSpLocks/>
            </p:cNvCxnSpPr>
            <p:nvPr>
              <p:custDataLst>
                <p:tags r:id="rId22"/>
              </p:custDataLst>
            </p:nvPr>
          </p:nvCxnSpPr>
          <p:spPr bwMode="auto">
            <a:xfrm>
              <a:off x="521000" y="1907547"/>
              <a:ext cx="6462325" cy="0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26CAE9A-840E-92CF-A34C-1555970D5426}"/>
                </a:ext>
              </a:extLst>
            </p:cNvPr>
            <p:cNvCxnSpPr>
              <a:cxnSpLocks/>
            </p:cNvCxnSpPr>
            <p:nvPr>
              <p:custDataLst>
                <p:tags r:id="rId23"/>
              </p:custDataLst>
            </p:nvPr>
          </p:nvCxnSpPr>
          <p:spPr bwMode="auto">
            <a:xfrm>
              <a:off x="531149" y="4167119"/>
              <a:ext cx="6452176" cy="40135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178A648-42E4-7268-1F31-FDB21ACCC066}"/>
                </a:ext>
              </a:extLst>
            </p:cNvPr>
            <p:cNvCxnSpPr>
              <a:cxnSpLocks/>
            </p:cNvCxnSpPr>
            <p:nvPr>
              <p:custDataLst>
                <p:tags r:id="rId24"/>
              </p:custDataLst>
            </p:nvPr>
          </p:nvCxnSpPr>
          <p:spPr bwMode="auto">
            <a:xfrm>
              <a:off x="521000" y="1604894"/>
              <a:ext cx="6462325" cy="1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Gerader Verbinder 159">
              <a:extLst>
                <a:ext uri="{FF2B5EF4-FFF2-40B4-BE49-F238E27FC236}">
                  <a16:creationId xmlns:a16="http://schemas.microsoft.com/office/drawing/2014/main" id="{861FA0D4-BB1F-C51C-70EB-6596986579FB}"/>
                </a:ext>
              </a:extLst>
            </p:cNvPr>
            <p:cNvCxnSpPr>
              <a:cxnSpLocks/>
            </p:cNvCxnSpPr>
            <p:nvPr>
              <p:custDataLst>
                <p:tags r:id="rId25"/>
              </p:custDataLst>
            </p:nvPr>
          </p:nvCxnSpPr>
          <p:spPr bwMode="auto">
            <a:xfrm>
              <a:off x="520552" y="4781419"/>
              <a:ext cx="6462773" cy="25035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395D55D-627A-E029-218D-E31A27E5627B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 bwMode="auto">
            <a:xfrm>
              <a:off x="535221" y="4474650"/>
              <a:ext cx="6448104" cy="1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440310F-1483-C93B-CD68-673CC7D6B746}"/>
                </a:ext>
              </a:extLst>
            </p:cNvPr>
            <p:cNvCxnSpPr>
              <a:cxnSpLocks/>
            </p:cNvCxnSpPr>
            <p:nvPr>
              <p:custDataLst>
                <p:tags r:id="rId27"/>
              </p:custDataLst>
            </p:nvPr>
          </p:nvCxnSpPr>
          <p:spPr bwMode="auto">
            <a:xfrm>
              <a:off x="523787" y="3430519"/>
              <a:ext cx="6459538" cy="0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8C19B72-7209-47FB-92A7-7830722ACDE6}"/>
                </a:ext>
              </a:extLst>
            </p:cNvPr>
            <p:cNvCxnSpPr>
              <a:cxnSpLocks/>
            </p:cNvCxnSpPr>
            <p:nvPr>
              <p:custDataLst>
                <p:tags r:id="rId28"/>
              </p:custDataLst>
            </p:nvPr>
          </p:nvCxnSpPr>
          <p:spPr bwMode="auto">
            <a:xfrm>
              <a:off x="521000" y="5131494"/>
              <a:ext cx="6462325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7B2F7447-3190-B5F3-69AD-825F369223E4}"/>
                </a:ext>
              </a:extLst>
            </p:cNvPr>
            <p:cNvSpPr/>
            <p:nvPr/>
          </p:nvSpPr>
          <p:spPr bwMode="auto">
            <a:xfrm>
              <a:off x="4684309" y="4651847"/>
              <a:ext cx="1556855" cy="79200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980D661-DEB7-FB23-49BD-84AB4D0ED034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auto">
            <a:xfrm>
              <a:off x="4675099" y="1505911"/>
              <a:ext cx="534988" cy="79200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ED07811-94B7-C585-D139-65D7BD8F0BC3}"/>
                </a:ext>
              </a:extLst>
            </p:cNvPr>
            <p:cNvSpPr/>
            <p:nvPr/>
          </p:nvSpPr>
          <p:spPr bwMode="auto">
            <a:xfrm>
              <a:off x="4683037" y="1783191"/>
              <a:ext cx="689233" cy="79200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7B3F42B-5F10-4FBA-12A3-91D9338DE029}"/>
                </a:ext>
              </a:extLst>
            </p:cNvPr>
            <p:cNvSpPr/>
            <p:nvPr/>
          </p:nvSpPr>
          <p:spPr bwMode="auto">
            <a:xfrm>
              <a:off x="6035523" y="4027239"/>
              <a:ext cx="769237" cy="73896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9F428F9-86A6-3CAD-B0DC-E80E49B3A5E1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auto">
            <a:xfrm>
              <a:off x="5066708" y="4362927"/>
              <a:ext cx="752600" cy="79200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46" name="Triangle 169">
              <a:extLst>
                <a:ext uri="{FF2B5EF4-FFF2-40B4-BE49-F238E27FC236}">
                  <a16:creationId xmlns:a16="http://schemas.microsoft.com/office/drawing/2014/main" id="{0790D6A5-5F7C-4C0B-2F4F-639F91986E31}"/>
                </a:ext>
              </a:extLst>
            </p:cNvPr>
            <p:cNvSpPr/>
            <p:nvPr/>
          </p:nvSpPr>
          <p:spPr bwMode="gray">
            <a:xfrm>
              <a:off x="6164969" y="4627151"/>
              <a:ext cx="101600" cy="101600"/>
            </a:xfrm>
            <a:prstGeom prst="triangle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47" name="Triangle 152">
              <a:extLst>
                <a:ext uri="{FF2B5EF4-FFF2-40B4-BE49-F238E27FC236}">
                  <a16:creationId xmlns:a16="http://schemas.microsoft.com/office/drawing/2014/main" id="{05A7AE90-4084-FA91-CD52-9ADCADF20111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5761333" y="4332778"/>
              <a:ext cx="101600" cy="101600"/>
            </a:xfrm>
            <a:prstGeom prst="triangle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48" name="Text Placeholder 2">
              <a:extLst>
                <a:ext uri="{FF2B5EF4-FFF2-40B4-BE49-F238E27FC236}">
                  <a16:creationId xmlns:a16="http://schemas.microsoft.com/office/drawing/2014/main" id="{91A92822-779E-D642-9CEC-74AB37EED8FB}"/>
                </a:ext>
              </a:extLst>
            </p:cNvPr>
            <p:cNvSpPr txBox="1"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569319" y="4208149"/>
              <a:ext cx="2411413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000000"/>
                  </a:solidFill>
                  <a:latin typeface="Arial"/>
                </a:rPr>
                <a:t>Development 7 Target flow for (AT) PSTs*</a:t>
              </a:r>
            </a:p>
          </p:txBody>
        </p:sp>
        <p:sp>
          <p:nvSpPr>
            <p:cNvPr id="49" name="Text Placeholder 2">
              <a:extLst>
                <a:ext uri="{FF2B5EF4-FFF2-40B4-BE49-F238E27FC236}">
                  <a16:creationId xmlns:a16="http://schemas.microsoft.com/office/drawing/2014/main" id="{B3E4540B-8B84-7BA2-E92D-A060F5684EFB}"/>
                </a:ext>
              </a:extLst>
            </p:cNvPr>
            <p:cNvSpPr txBox="1"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565062" y="1362007"/>
              <a:ext cx="1155700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000000"/>
                  </a:solidFill>
                  <a:latin typeface="Arial"/>
                </a:rPr>
                <a:t>Development 1 UA/MD DACF model split</a:t>
              </a:r>
              <a:endParaRPr lang="en-GB" sz="800" baseline="30000" noProof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Text Placeholder 2">
              <a:extLst>
                <a:ext uri="{FF2B5EF4-FFF2-40B4-BE49-F238E27FC236}">
                  <a16:creationId xmlns:a16="http://schemas.microsoft.com/office/drawing/2014/main" id="{E0E2393C-8225-4863-ECEC-083992B4138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55915" y="1484244"/>
              <a:ext cx="285432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Split of joint UAMD DACF model into single UA and single MD model</a:t>
              </a:r>
            </a:p>
          </p:txBody>
        </p:sp>
        <p:sp>
          <p:nvSpPr>
            <p:cNvPr id="51" name="Text Placeholder 2">
              <a:extLst>
                <a:ext uri="{FF2B5EF4-FFF2-40B4-BE49-F238E27FC236}">
                  <a16:creationId xmlns:a16="http://schemas.microsoft.com/office/drawing/2014/main" id="{3C6CC89C-E54F-ADD2-FF8A-83343E77F40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71035" y="4340002"/>
              <a:ext cx="227647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Implementation of target flow solution for (AT) PSTs</a:t>
              </a:r>
            </a:p>
          </p:txBody>
        </p:sp>
        <p:sp>
          <p:nvSpPr>
            <p:cNvPr id="52" name="Text Placeholder 2">
              <a:extLst>
                <a:ext uri="{FF2B5EF4-FFF2-40B4-BE49-F238E27FC236}">
                  <a16:creationId xmlns:a16="http://schemas.microsoft.com/office/drawing/2014/main" id="{57DB0AE8-A650-EB2E-5248-828296740C9D}"/>
                </a:ext>
              </a:extLst>
            </p:cNvPr>
            <p:cNvSpPr txBox="1"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557059" y="1651724"/>
              <a:ext cx="2190750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000000"/>
                  </a:solidFill>
                  <a:latin typeface="Arial"/>
                </a:rPr>
                <a:t>Development 2 Core &amp; Italy North common D-2 CGM</a:t>
              </a:r>
            </a:p>
          </p:txBody>
        </p:sp>
        <p:sp>
          <p:nvSpPr>
            <p:cNvPr id="53" name="Text Placeholder 2">
              <a:extLst>
                <a:ext uri="{FF2B5EF4-FFF2-40B4-BE49-F238E27FC236}">
                  <a16:creationId xmlns:a16="http://schemas.microsoft.com/office/drawing/2014/main" id="{2D3E5568-DD1F-3D2C-2767-C54C089A328C}"/>
                </a:ext>
              </a:extLst>
            </p:cNvPr>
            <p:cNvSpPr txBox="1"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568615" y="4805274"/>
              <a:ext cx="1130300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000000"/>
                  </a:solidFill>
                  <a:latin typeface="Arial"/>
                  <a:ea typeface="Arial Unicode MS"/>
                  <a:cs typeface="Arial"/>
                </a:rPr>
                <a:t>Development</a:t>
              </a:r>
              <a:r>
                <a:rPr lang="en-GB" sz="800" b="1" noProof="1">
                  <a:solidFill>
                    <a:srgbClr val="000000"/>
                  </a:solidFill>
                  <a:latin typeface="Arial"/>
                </a:rPr>
                <a:t> 9 Integration of Ireland**</a:t>
              </a:r>
            </a:p>
          </p:txBody>
        </p:sp>
        <p:sp>
          <p:nvSpPr>
            <p:cNvPr id="54" name="Text Placeholder 2">
              <a:extLst>
                <a:ext uri="{FF2B5EF4-FFF2-40B4-BE49-F238E27FC236}">
                  <a16:creationId xmlns:a16="http://schemas.microsoft.com/office/drawing/2014/main" id="{3E4AED01-C4DD-D065-9563-08A6284785A1}"/>
                </a:ext>
              </a:extLst>
            </p:cNvPr>
            <p:cNvSpPr txBox="1"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565062" y="3477827"/>
              <a:ext cx="1860550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000000"/>
                  </a:solidFill>
                  <a:latin typeface="Arial"/>
                  <a:ea typeface="Arial Unicode MS"/>
                  <a:cs typeface="Arial"/>
                </a:rPr>
                <a:t>Development</a:t>
              </a:r>
              <a:r>
                <a:rPr lang="en-GB" sz="800" b="1" noProof="1">
                  <a:solidFill>
                    <a:srgbClr val="000000"/>
                  </a:solidFill>
                  <a:latin typeface="Arial"/>
                </a:rPr>
                <a:t> 5 Extension of NPF to further non-Core BZs</a:t>
              </a:r>
            </a:p>
          </p:txBody>
        </p:sp>
        <p:sp>
          <p:nvSpPr>
            <p:cNvPr id="55" name="Text Placeholder 2">
              <a:extLst>
                <a:ext uri="{FF2B5EF4-FFF2-40B4-BE49-F238E27FC236}">
                  <a16:creationId xmlns:a16="http://schemas.microsoft.com/office/drawing/2014/main" id="{8BA7D1C7-46D5-6326-2774-2E82199F162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888" y="1944060"/>
              <a:ext cx="862013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000000"/>
                  </a:solidFill>
                  <a:latin typeface="Arial"/>
                </a:rPr>
                <a:t>Development 3 Integration of D2CF models of Balkan TSOs</a:t>
              </a:r>
            </a:p>
          </p:txBody>
        </p:sp>
        <p:sp>
          <p:nvSpPr>
            <p:cNvPr id="56" name="Text Placeholder 2">
              <a:extLst>
                <a:ext uri="{FF2B5EF4-FFF2-40B4-BE49-F238E27FC236}">
                  <a16:creationId xmlns:a16="http://schemas.microsoft.com/office/drawing/2014/main" id="{537AEB58-0209-BB7D-01CB-B47EE62DF815}"/>
                </a:ext>
              </a:extLst>
            </p:cNvPr>
            <p:cNvSpPr txBox="1"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566649" y="4507574"/>
              <a:ext cx="1712913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000000"/>
                  </a:solidFill>
                  <a:latin typeface="Arial"/>
                </a:rPr>
                <a:t>Development 8 Integration of German HVDCs</a:t>
              </a:r>
            </a:p>
          </p:txBody>
        </p:sp>
        <p:sp>
          <p:nvSpPr>
            <p:cNvPr id="57" name="Triangle 132">
              <a:extLst>
                <a:ext uri="{FF2B5EF4-FFF2-40B4-BE49-F238E27FC236}">
                  <a16:creationId xmlns:a16="http://schemas.microsoft.com/office/drawing/2014/main" id="{28991783-8DCF-4C54-DAD4-3C175B376E9B}"/>
                </a:ext>
              </a:extLst>
            </p:cNvPr>
            <p:cNvSpPr/>
            <p:nvPr/>
          </p:nvSpPr>
          <p:spPr bwMode="gray">
            <a:xfrm>
              <a:off x="5141140" y="1479248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58" name="Text Placeholder 2">
              <a:extLst>
                <a:ext uri="{FF2B5EF4-FFF2-40B4-BE49-F238E27FC236}">
                  <a16:creationId xmlns:a16="http://schemas.microsoft.com/office/drawing/2014/main" id="{025CD513-8DC6-9314-C2AB-C8F54F480F9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888" y="1780174"/>
              <a:ext cx="285432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Core &amp; Italy North common D2CF CGM creation; pre-requisite for Central Europe CCR </a:t>
              </a:r>
            </a:p>
          </p:txBody>
        </p:sp>
        <p:sp>
          <p:nvSpPr>
            <p:cNvPr id="59" name="Triangle 132">
              <a:extLst>
                <a:ext uri="{FF2B5EF4-FFF2-40B4-BE49-F238E27FC236}">
                  <a16:creationId xmlns:a16="http://schemas.microsoft.com/office/drawing/2014/main" id="{FEE26514-5BF5-6E3A-102C-B813A30CBA5E}"/>
                </a:ext>
              </a:extLst>
            </p:cNvPr>
            <p:cNvSpPr/>
            <p:nvPr/>
          </p:nvSpPr>
          <p:spPr bwMode="gray">
            <a:xfrm>
              <a:off x="5311944" y="1762057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highlight>
                  <a:srgbClr val="00D302"/>
                </a:highlight>
                <a:latin typeface="Arial"/>
                <a:ea typeface="ＭＳ Ｐゴシック" charset="0"/>
              </a:endParaRPr>
            </a:p>
          </p:txBody>
        </p:sp>
        <p:sp>
          <p:nvSpPr>
            <p:cNvPr id="60" name="Text Placeholder 2">
              <a:extLst>
                <a:ext uri="{FF2B5EF4-FFF2-40B4-BE49-F238E27FC236}">
                  <a16:creationId xmlns:a16="http://schemas.microsoft.com/office/drawing/2014/main" id="{A2D337B9-6A58-681E-AD66-354FC06439C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888" y="2094078"/>
              <a:ext cx="227647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noProof="1">
                  <a:solidFill>
                    <a:srgbClr val="000000"/>
                  </a:solidFill>
                  <a:latin typeface="Arial"/>
                </a:rPr>
                <a:t>a</a:t>
              </a: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) Agreeing and signing of NDA </a:t>
              </a:r>
            </a:p>
          </p:txBody>
        </p:sp>
        <p:sp>
          <p:nvSpPr>
            <p:cNvPr id="61" name="Text Placeholder 2">
              <a:extLst>
                <a:ext uri="{FF2B5EF4-FFF2-40B4-BE49-F238E27FC236}">
                  <a16:creationId xmlns:a16="http://schemas.microsoft.com/office/drawing/2014/main" id="{68246DE0-C007-D7D4-4702-A752E55E3A7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888" y="2268004"/>
              <a:ext cx="227647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b) Testing and quality assessment</a:t>
              </a:r>
            </a:p>
          </p:txBody>
        </p:sp>
        <p:sp>
          <p:nvSpPr>
            <p:cNvPr id="62" name="Text Placeholder 2">
              <a:extLst>
                <a:ext uri="{FF2B5EF4-FFF2-40B4-BE49-F238E27FC236}">
                  <a16:creationId xmlns:a16="http://schemas.microsoft.com/office/drawing/2014/main" id="{48C5A2E6-CC10-AA8C-193F-C9D0995635A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888" y="2449210"/>
              <a:ext cx="227647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noProof="1">
                  <a:solidFill>
                    <a:srgbClr val="000000"/>
                  </a:solidFill>
                  <a:latin typeface="Arial"/>
                </a:rPr>
                <a:t>c</a:t>
              </a: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) Balkans D2CF implementation  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621C480B-3EE8-6D3E-35EA-0074E1139594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auto">
            <a:xfrm>
              <a:off x="4683038" y="2168177"/>
              <a:ext cx="619126" cy="84969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64" name="Triangle 132">
              <a:extLst>
                <a:ext uri="{FF2B5EF4-FFF2-40B4-BE49-F238E27FC236}">
                  <a16:creationId xmlns:a16="http://schemas.microsoft.com/office/drawing/2014/main" id="{263EC0E8-C890-7A39-E833-FAD4C788C168}"/>
                </a:ext>
              </a:extLst>
            </p:cNvPr>
            <p:cNvSpPr/>
            <p:nvPr/>
          </p:nvSpPr>
          <p:spPr bwMode="gray">
            <a:xfrm>
              <a:off x="5254537" y="2151791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8558271-7C8C-099A-1456-3375878BCB8A}"/>
                </a:ext>
              </a:extLst>
            </p:cNvPr>
            <p:cNvSpPr/>
            <p:nvPr/>
          </p:nvSpPr>
          <p:spPr bwMode="auto">
            <a:xfrm>
              <a:off x="5291049" y="2331777"/>
              <a:ext cx="250830" cy="79200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66" name="Triangle 132">
              <a:extLst>
                <a:ext uri="{FF2B5EF4-FFF2-40B4-BE49-F238E27FC236}">
                  <a16:creationId xmlns:a16="http://schemas.microsoft.com/office/drawing/2014/main" id="{8ED39005-9A7D-61AC-A670-88E60A83D969}"/>
                </a:ext>
              </a:extLst>
            </p:cNvPr>
            <p:cNvSpPr/>
            <p:nvPr/>
          </p:nvSpPr>
          <p:spPr bwMode="gray">
            <a:xfrm>
              <a:off x="5495803" y="2308716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7A87224-15D2-2F0E-6757-AD8C881AA885}"/>
                </a:ext>
              </a:extLst>
            </p:cNvPr>
            <p:cNvSpPr/>
            <p:nvPr/>
          </p:nvSpPr>
          <p:spPr bwMode="auto">
            <a:xfrm>
              <a:off x="5552987" y="2433110"/>
              <a:ext cx="149224" cy="79363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68" name="Triangle 132">
              <a:extLst>
                <a:ext uri="{FF2B5EF4-FFF2-40B4-BE49-F238E27FC236}">
                  <a16:creationId xmlns:a16="http://schemas.microsoft.com/office/drawing/2014/main" id="{D8E2D5DF-65A4-C3FE-CDFD-6DD149D1CC16}"/>
                </a:ext>
              </a:extLst>
            </p:cNvPr>
            <p:cNvSpPr/>
            <p:nvPr/>
          </p:nvSpPr>
          <p:spPr bwMode="gray">
            <a:xfrm>
              <a:off x="5648238" y="2407179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69" name="Text Placeholder 2">
              <a:extLst>
                <a:ext uri="{FF2B5EF4-FFF2-40B4-BE49-F238E27FC236}">
                  <a16:creationId xmlns:a16="http://schemas.microsoft.com/office/drawing/2014/main" id="{FED7D21F-826A-5F9A-BE5A-05A4BBA755DD}"/>
                </a:ext>
              </a:extLst>
            </p:cNvPr>
            <p:cNvSpPr txBox="1"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554268" y="2678044"/>
              <a:ext cx="862013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000000"/>
                  </a:solidFill>
                  <a:latin typeface="Arial"/>
                </a:rPr>
                <a:t>Development 4 Integration of D2CF models of UA and MD</a:t>
              </a:r>
            </a:p>
          </p:txBody>
        </p:sp>
        <p:sp>
          <p:nvSpPr>
            <p:cNvPr id="70" name="Text Placeholder 2">
              <a:extLst>
                <a:ext uri="{FF2B5EF4-FFF2-40B4-BE49-F238E27FC236}">
                  <a16:creationId xmlns:a16="http://schemas.microsoft.com/office/drawing/2014/main" id="{66CFE443-9950-F4C4-16EC-7162D035006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888" y="2871401"/>
              <a:ext cx="227647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a) UA and MD adherence to NDA </a:t>
              </a:r>
            </a:p>
          </p:txBody>
        </p:sp>
        <p:sp>
          <p:nvSpPr>
            <p:cNvPr id="71" name="Text Placeholder 2">
              <a:extLst>
                <a:ext uri="{FF2B5EF4-FFF2-40B4-BE49-F238E27FC236}">
                  <a16:creationId xmlns:a16="http://schemas.microsoft.com/office/drawing/2014/main" id="{31B3E9BB-C1EE-E8BE-47AE-8EB37F52DCA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888" y="3052376"/>
              <a:ext cx="227647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noProof="1">
                  <a:solidFill>
                    <a:srgbClr val="000000"/>
                  </a:solidFill>
                  <a:latin typeface="Arial"/>
                </a:rPr>
                <a:t>b) </a:t>
              </a: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Testing and quality assessment </a:t>
              </a:r>
            </a:p>
          </p:txBody>
        </p:sp>
        <p:sp>
          <p:nvSpPr>
            <p:cNvPr id="72" name="Text Placeholder 2">
              <a:extLst>
                <a:ext uri="{FF2B5EF4-FFF2-40B4-BE49-F238E27FC236}">
                  <a16:creationId xmlns:a16="http://schemas.microsoft.com/office/drawing/2014/main" id="{9C970327-E5A4-C30B-3F12-63C494DFFCB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7155" y="3227954"/>
              <a:ext cx="227647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noProof="1">
                  <a:solidFill>
                    <a:srgbClr val="000000"/>
                  </a:solidFill>
                  <a:latin typeface="Arial"/>
                </a:rPr>
                <a:t>c) </a:t>
              </a: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UA and MD D2CF implementation  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71E1336-70B3-F55F-9E43-2B4DA498B66D}"/>
                </a:ext>
              </a:extLst>
            </p:cNvPr>
            <p:cNvSpPr/>
            <p:nvPr/>
          </p:nvSpPr>
          <p:spPr bwMode="auto">
            <a:xfrm>
              <a:off x="5335495" y="2759005"/>
              <a:ext cx="114304" cy="79200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74" name="Triangle 132">
              <a:extLst>
                <a:ext uri="{FF2B5EF4-FFF2-40B4-BE49-F238E27FC236}">
                  <a16:creationId xmlns:a16="http://schemas.microsoft.com/office/drawing/2014/main" id="{F2C33642-4791-4455-182A-E8BA11DBFA52}"/>
                </a:ext>
              </a:extLst>
            </p:cNvPr>
            <p:cNvSpPr/>
            <p:nvPr/>
          </p:nvSpPr>
          <p:spPr bwMode="gray">
            <a:xfrm>
              <a:off x="5405478" y="2735513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4693379D-3292-FC26-7607-A387C557C5AD}"/>
                </a:ext>
              </a:extLst>
            </p:cNvPr>
            <p:cNvSpPr/>
            <p:nvPr/>
          </p:nvSpPr>
          <p:spPr bwMode="auto">
            <a:xfrm>
              <a:off x="5450555" y="3005157"/>
              <a:ext cx="250830" cy="79200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76" name="Triangle 132">
              <a:extLst>
                <a:ext uri="{FF2B5EF4-FFF2-40B4-BE49-F238E27FC236}">
                  <a16:creationId xmlns:a16="http://schemas.microsoft.com/office/drawing/2014/main" id="{BBB2583E-181C-9995-7621-6EA673D6794A}"/>
                </a:ext>
              </a:extLst>
            </p:cNvPr>
            <p:cNvSpPr/>
            <p:nvPr/>
          </p:nvSpPr>
          <p:spPr bwMode="gray">
            <a:xfrm>
              <a:off x="5642650" y="2982844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AEFB2533-D3D0-22B9-2A6B-6AFE3F46B8E0}"/>
                </a:ext>
              </a:extLst>
            </p:cNvPr>
            <p:cNvSpPr/>
            <p:nvPr/>
          </p:nvSpPr>
          <p:spPr bwMode="auto">
            <a:xfrm>
              <a:off x="5699267" y="3227495"/>
              <a:ext cx="114304" cy="79200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78" name="Triangle 132">
              <a:extLst>
                <a:ext uri="{FF2B5EF4-FFF2-40B4-BE49-F238E27FC236}">
                  <a16:creationId xmlns:a16="http://schemas.microsoft.com/office/drawing/2014/main" id="{F112CC58-DE5D-86E7-7BF4-07157AF50716}"/>
                </a:ext>
              </a:extLst>
            </p:cNvPr>
            <p:cNvSpPr/>
            <p:nvPr/>
          </p:nvSpPr>
          <p:spPr bwMode="gray">
            <a:xfrm>
              <a:off x="5770475" y="3205095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79" name="Text Placeholder 2">
              <a:extLst>
                <a:ext uri="{FF2B5EF4-FFF2-40B4-BE49-F238E27FC236}">
                  <a16:creationId xmlns:a16="http://schemas.microsoft.com/office/drawing/2014/main" id="{6EF23321-A850-9E59-B8C3-25F3E3B97BD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888" y="3608787"/>
              <a:ext cx="285432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Development of NPF for all BZs in D2CF CGM </a:t>
              </a:r>
            </a:p>
          </p:txBody>
        </p:sp>
        <p:sp>
          <p:nvSpPr>
            <p:cNvPr id="80" name="Text Placeholder 2">
              <a:extLst>
                <a:ext uri="{FF2B5EF4-FFF2-40B4-BE49-F238E27FC236}">
                  <a16:creationId xmlns:a16="http://schemas.microsoft.com/office/drawing/2014/main" id="{F94091A2-E01A-084D-2524-FFAFAF40E37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888" y="3843903"/>
              <a:ext cx="1860550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b="1" noProof="1">
                  <a:solidFill>
                    <a:srgbClr val="000000"/>
                  </a:solidFill>
                  <a:latin typeface="Arial"/>
                </a:rPr>
                <a:t>Development 6 Country GLSK for non-Core TSOs</a:t>
              </a:r>
            </a:p>
          </p:txBody>
        </p:sp>
        <p:sp>
          <p:nvSpPr>
            <p:cNvPr id="81" name="Text Placeholder 2">
              <a:extLst>
                <a:ext uri="{FF2B5EF4-FFF2-40B4-BE49-F238E27FC236}">
                  <a16:creationId xmlns:a16="http://schemas.microsoft.com/office/drawing/2014/main" id="{91CED8E1-B499-5CD8-0AD4-4252AC9CB6C9}"/>
                </a:ext>
              </a:extLst>
            </p:cNvPr>
            <p:cNvSpPr txBox="1"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543594" y="3974016"/>
              <a:ext cx="227647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Switching from load only shifting to prop. to gen&amp;load shifting for non-Core TSOs</a:t>
              </a:r>
            </a:p>
          </p:txBody>
        </p:sp>
        <p:sp>
          <p:nvSpPr>
            <p:cNvPr id="82" name="Triangle 132">
              <a:extLst>
                <a:ext uri="{FF2B5EF4-FFF2-40B4-BE49-F238E27FC236}">
                  <a16:creationId xmlns:a16="http://schemas.microsoft.com/office/drawing/2014/main" id="{7C8C3D4E-EB22-8004-043F-7032E50B46B7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gray">
            <a:xfrm>
              <a:off x="6751578" y="4003607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83" name="Text Placeholder 2">
              <a:extLst>
                <a:ext uri="{FF2B5EF4-FFF2-40B4-BE49-F238E27FC236}">
                  <a16:creationId xmlns:a16="http://schemas.microsoft.com/office/drawing/2014/main" id="{8990F375-B0F0-CECB-9C6F-C25E22B3ACF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1566" y="4629875"/>
              <a:ext cx="285432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Modeling of Inner German HVDCs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DC851257-79E7-BDB2-7E91-93DF41ED7611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auto">
            <a:xfrm>
              <a:off x="4681578" y="4949145"/>
              <a:ext cx="2211003" cy="79200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85" name="Triangle 169">
              <a:extLst>
                <a:ext uri="{FF2B5EF4-FFF2-40B4-BE49-F238E27FC236}">
                  <a16:creationId xmlns:a16="http://schemas.microsoft.com/office/drawing/2014/main" id="{8C8923F1-7397-3A10-99AB-34F18115A38F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 bwMode="gray">
            <a:xfrm>
              <a:off x="6830132" y="4921555"/>
              <a:ext cx="101600" cy="101600"/>
            </a:xfrm>
            <a:prstGeom prst="triangle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86" name="Text Placeholder 2">
              <a:extLst>
                <a:ext uri="{FF2B5EF4-FFF2-40B4-BE49-F238E27FC236}">
                  <a16:creationId xmlns:a16="http://schemas.microsoft.com/office/drawing/2014/main" id="{A312C64C-333C-5945-2F24-911F48265C80}"/>
                </a:ext>
              </a:extLst>
            </p:cNvPr>
            <p:cNvSpPr txBox="1"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555529" y="4920283"/>
              <a:ext cx="2854325" cy="122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None/>
                <a:defRPr sz="1400" b="0" i="0">
                  <a:solidFill>
                    <a:srgbClr val="3366FF"/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1pPr>
              <a:lvl2pPr marL="285750" marR="0" indent="-28575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100FE"/>
                </a:buClr>
                <a:buSzPct val="70000"/>
                <a:buFont typeface="Wingdings" panose="05000000000000000000" pitchFamily="2" charset="2"/>
                <a:buChar char="l"/>
                <a:tabLst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2pPr>
              <a:lvl3pPr marL="54610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SzPct val="65000"/>
                <a:buFont typeface="Wingdings" panose="05000000000000000000" pitchFamily="2" charset="2"/>
                <a:buChar char="¡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3pPr>
              <a:lvl4pPr marL="806450" indent="-2667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Wingdings" pitchFamily="2" charset="2"/>
                <a:buChar char="§"/>
                <a:defRPr sz="12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" panose="020B0604020202020204" pitchFamily="34" charset="0"/>
                </a:defRPr>
              </a:lvl4pPr>
              <a:lvl5pPr marL="1111250" indent="-29210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1435100" indent="-311150" algn="l" rtl="0" eaLnBrk="1" fontAlgn="base" hangingPunct="1">
                <a:spcBef>
                  <a:spcPts val="4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‒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6pPr>
              <a:lvl7pPr marL="2861843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7pPr>
              <a:lvl8pPr marL="3302127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8pPr>
              <a:lvl9pPr marL="3742411" indent="-220142" algn="l" rtl="0" eaLnBrk="1" fontAlgn="base" hangingPunct="1">
                <a:spcBef>
                  <a:spcPts val="400"/>
                </a:spcBef>
                <a:spcAft>
                  <a:spcPct val="0"/>
                </a:spcAft>
                <a:buChar char="»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ＭＳ Ｐゴシック" pitchFamily="-64" charset="-128"/>
                </a:defRPr>
              </a:lvl9pPr>
            </a:lstStyle>
            <a:p>
              <a:pPr marL="0" lvl="1" indent="0">
                <a:spcBef>
                  <a:spcPct val="0"/>
                </a:spcBef>
                <a:buNone/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</a:rPr>
                <a:t>Integration of Ireland D2CF in CGM 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7F150AC-4A33-5037-E549-5FCAC616EFB0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 bwMode="auto">
            <a:xfrm>
              <a:off x="5822326" y="3626197"/>
              <a:ext cx="769237" cy="73896"/>
            </a:xfrm>
            <a:prstGeom prst="rect">
              <a:avLst/>
            </a:prstGeom>
            <a:solidFill>
              <a:schemeClr val="folHlink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88" name="Triangle 132">
              <a:extLst>
                <a:ext uri="{FF2B5EF4-FFF2-40B4-BE49-F238E27FC236}">
                  <a16:creationId xmlns:a16="http://schemas.microsoft.com/office/drawing/2014/main" id="{33AAE2B8-0AD4-6A5C-B595-C2098900C7C0}"/>
                </a:ext>
              </a:extLst>
            </p:cNvPr>
            <p:cNvSpPr/>
            <p:nvPr/>
          </p:nvSpPr>
          <p:spPr bwMode="gray">
            <a:xfrm>
              <a:off x="6541736" y="3595703"/>
              <a:ext cx="101600" cy="10160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noProof="1">
                <a:solidFill>
                  <a:srgbClr val="000000"/>
                </a:solidFill>
                <a:latin typeface="Arial"/>
                <a:ea typeface="ＭＳ Ｐゴシック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8EE60A7-3087-ED01-5675-1B1848A10F81}"/>
                </a:ext>
              </a:extLst>
            </p:cNvPr>
            <p:cNvSpPr txBox="1"/>
            <p:nvPr/>
          </p:nvSpPr>
          <p:spPr>
            <a:xfrm>
              <a:off x="5022497" y="1332073"/>
              <a:ext cx="241924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800" i="1" noProof="1">
                  <a:solidFill>
                    <a:srgbClr val="000000"/>
                  </a:solidFill>
                  <a:latin typeface="Arial"/>
                  <a:ea typeface="ＭＳ Ｐゴシック" charset="0"/>
                </a:rPr>
                <a:t>went live on 20/01/2026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3A638A4-D0F6-5006-9685-77C400D4B299}"/>
                </a:ext>
              </a:extLst>
            </p:cNvPr>
            <p:cNvCxnSpPr>
              <a:cxnSpLocks/>
            </p:cNvCxnSpPr>
            <p:nvPr>
              <p:custDataLst>
                <p:tags r:id="rId46"/>
              </p:custDataLst>
            </p:nvPr>
          </p:nvCxnSpPr>
          <p:spPr bwMode="auto">
            <a:xfrm>
              <a:off x="523787" y="1357244"/>
              <a:ext cx="6459538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4411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1B31077-857B-53F2-0C25-76F8AECF2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6163" y="0"/>
            <a:ext cx="9019837" cy="1080000"/>
          </a:xfrm>
        </p:spPr>
        <p:txBody>
          <a:bodyPr/>
          <a:lstStyle/>
          <a:p>
            <a:r>
              <a:rPr lang="en-GB"/>
              <a:t>What prevented more exchanges towards SEE?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BF03B2-43BF-F7BE-9557-940123C80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3</a:t>
            </a:fld>
            <a:endParaRPr lang="en-SI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DAFE6E-28E9-30DE-3A60-1760F7E613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787" y="6298040"/>
            <a:ext cx="10891888" cy="576002"/>
          </a:xfrm>
        </p:spPr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GB"/>
              <a:t>Source: ACER calculation based on JAO Publication Tool data.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GB"/>
              <a:t>Note: Market impact is defined by the shadow price (i.e. gain in economic surplus from relaxing a capacity constraint by 1 MW). 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GB"/>
              <a:t>MACZT: Margin available for cross-zonal trade.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019D55-957C-BDF4-70B5-63083623CB47}"/>
              </a:ext>
            </a:extLst>
          </p:cNvPr>
          <p:cNvSpPr txBox="1"/>
          <p:nvPr/>
        </p:nvSpPr>
        <p:spPr>
          <a:xfrm>
            <a:off x="8579619" y="6393735"/>
            <a:ext cx="1936479" cy="38461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en-GB" sz="1400">
                <a:solidFill>
                  <a:schemeClr val="tx2"/>
                </a:solidFill>
              </a:rPr>
              <a:t>Interactive map: </a:t>
            </a:r>
          </a:p>
        </p:txBody>
      </p:sp>
      <p:sp>
        <p:nvSpPr>
          <p:cNvPr id="13" name="Rectangle 1">
            <a:extLst>
              <a:ext uri="{FF2B5EF4-FFF2-40B4-BE49-F238E27FC236}">
                <a16:creationId xmlns:a16="http://schemas.microsoft.com/office/drawing/2014/main" id="{BFFEB148-0748-00DC-1FFA-8EE8B2B9C1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675" y="23891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44562FAF-BF30-9211-8747-3B36BD1C79CE}"/>
              </a:ext>
            </a:extLst>
          </p:cNvPr>
          <p:cNvGraphicFramePr>
            <a:graphicFrameLocks noGrp="1"/>
          </p:cNvGraphicFramePr>
          <p:nvPr/>
        </p:nvGraphicFramePr>
        <p:xfrm>
          <a:off x="751702" y="3264243"/>
          <a:ext cx="4473585" cy="242008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648804">
                  <a:extLst>
                    <a:ext uri="{9D8B030D-6E8A-4147-A177-3AD203B41FA5}">
                      <a16:colId xmlns:a16="http://schemas.microsoft.com/office/drawing/2014/main" val="1577156348"/>
                    </a:ext>
                  </a:extLst>
                </a:gridCol>
                <a:gridCol w="1869661">
                  <a:extLst>
                    <a:ext uri="{9D8B030D-6E8A-4147-A177-3AD203B41FA5}">
                      <a16:colId xmlns:a16="http://schemas.microsoft.com/office/drawing/2014/main" val="1096155029"/>
                    </a:ext>
                  </a:extLst>
                </a:gridCol>
                <a:gridCol w="937550">
                  <a:extLst>
                    <a:ext uri="{9D8B030D-6E8A-4147-A177-3AD203B41FA5}">
                      <a16:colId xmlns:a16="http://schemas.microsoft.com/office/drawing/2014/main" val="254862359"/>
                    </a:ext>
                  </a:extLst>
                </a:gridCol>
                <a:gridCol w="1017570">
                  <a:extLst>
                    <a:ext uri="{9D8B030D-6E8A-4147-A177-3AD203B41FA5}">
                      <a16:colId xmlns:a16="http://schemas.microsoft.com/office/drawing/2014/main" val="1155798619"/>
                    </a:ext>
                  </a:extLst>
                </a:gridCol>
              </a:tblGrid>
              <a:tr h="53911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100" b="1">
                          <a:solidFill>
                            <a:schemeClr val="tx2"/>
                          </a:solidFill>
                        </a:rPr>
                        <a:t>TSO</a:t>
                      </a:r>
                      <a:endParaRPr lang="en-GB" sz="110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100" b="1">
                          <a:solidFill>
                            <a:schemeClr val="tx2"/>
                          </a:solidFill>
                        </a:rPr>
                        <a:t>Network element</a:t>
                      </a:r>
                      <a:endParaRPr lang="en-GB" sz="110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GB" sz="1100" b="1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rket impact (EUR/MW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100" b="1">
                          <a:solidFill>
                            <a:schemeClr val="tx2"/>
                          </a:solidFill>
                        </a:rPr>
                        <a:t>Average MACZT (% of Fmax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53066393"/>
                  </a:ext>
                </a:extLst>
              </a:tr>
              <a:tr h="32727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200"/>
                        <a:t>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 err="1"/>
                        <a:t>V.Dur</a:t>
                      </a:r>
                      <a:r>
                        <a:rPr lang="en-GB" sz="1200"/>
                        <a:t> - Levice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186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4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56233762"/>
                  </a:ext>
                </a:extLst>
              </a:tr>
              <a:tr h="335614">
                <a:tc>
                  <a:txBody>
                    <a:bodyPr/>
                    <a:lstStyle/>
                    <a:p>
                      <a:r>
                        <a:rPr lang="en-GB" sz="1200"/>
                        <a:t>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 err="1"/>
                        <a:t>Neusiedl</a:t>
                      </a:r>
                      <a:r>
                        <a:rPr lang="en-GB" sz="1200"/>
                        <a:t> - Wien </a:t>
                      </a:r>
                      <a:r>
                        <a:rPr lang="en-GB" sz="1200" err="1"/>
                        <a:t>Suedost</a:t>
                      </a:r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180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6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046985"/>
                  </a:ext>
                </a:extLst>
              </a:tr>
              <a:tr h="210083">
                <a:tc>
                  <a:txBody>
                    <a:bodyPr/>
                    <a:lstStyle/>
                    <a:p>
                      <a:r>
                        <a:rPr lang="en-GB" sz="1200"/>
                        <a:t>AT</a:t>
                      </a:r>
                      <a:r>
                        <a:rPr lang="en-GB" sz="12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-S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 err="1"/>
                        <a:t>Obersielach</a:t>
                      </a:r>
                      <a:r>
                        <a:rPr lang="en-GB" sz="1200"/>
                        <a:t> - </a:t>
                      </a:r>
                      <a:r>
                        <a:rPr lang="en-GB" sz="1200" err="1"/>
                        <a:t>Podlog</a:t>
                      </a:r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102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5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387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DE-F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 err="1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Ensdorf</a:t>
                      </a:r>
                      <a:r>
                        <a:rPr lang="en-GB" sz="120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 - Vi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68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6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67930911"/>
                  </a:ext>
                </a:extLst>
              </a:tr>
              <a:tr h="331379">
                <a:tc>
                  <a:txBody>
                    <a:bodyPr/>
                    <a:lstStyle/>
                    <a:p>
                      <a:r>
                        <a:rPr lang="en-GB" sz="1200"/>
                        <a:t>R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Transf. </a:t>
                      </a:r>
                      <a:r>
                        <a:rPr lang="en-GB" sz="1200" err="1"/>
                        <a:t>Rosiori</a:t>
                      </a:r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36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4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7094905"/>
                  </a:ext>
                </a:extLst>
              </a:tr>
              <a:tr h="282814">
                <a:tc>
                  <a:txBody>
                    <a:bodyPr/>
                    <a:lstStyle/>
                    <a:p>
                      <a:r>
                        <a:rPr lang="en-GB" sz="1200"/>
                        <a:t>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Tauern - Weissenba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4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4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9951396"/>
                  </a:ext>
                </a:extLst>
              </a:tr>
            </a:tbl>
          </a:graphicData>
        </a:graphic>
      </p:graphicFrame>
      <p:sp>
        <p:nvSpPr>
          <p:cNvPr id="15" name="Rectangle 2">
            <a:extLst>
              <a:ext uri="{FF2B5EF4-FFF2-40B4-BE49-F238E27FC236}">
                <a16:creationId xmlns:a16="http://schemas.microsoft.com/office/drawing/2014/main" id="{B1399C32-673B-300B-C00C-B94C03CB15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675" y="2389187"/>
            <a:ext cx="10645698" cy="87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CE6B165-8FCF-12EE-79F7-EE79BF2CCA0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9870213" y="6283492"/>
          <a:ext cx="1601787" cy="590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3" imgW="1390513" imgH="514350" progId="Package">
                  <p:embed/>
                </p:oleObj>
              </mc:Choice>
              <mc:Fallback>
                <p:oleObj name="Packager Shell Object" showAsIcon="1" r:id="rId3" imgW="1390513" imgH="514350" progId="Package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CE6B165-8FCF-12EE-79F7-EE79BF2CCA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870213" y="6283492"/>
                        <a:ext cx="1601787" cy="590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4CDCE89-EFBF-821A-AC8F-30DB4CA8A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577921"/>
            <a:ext cx="4570683" cy="1588441"/>
          </a:xfrm>
        </p:spPr>
        <p:txBody>
          <a:bodyPr/>
          <a:lstStyle/>
          <a:p>
            <a:pPr algn="just"/>
            <a:r>
              <a:rPr lang="en-GB" sz="1400"/>
              <a:t>Electricity exchanges within the EU are the </a:t>
            </a:r>
            <a:r>
              <a:rPr lang="en-GB" sz="1400">
                <a:solidFill>
                  <a:schemeClr val="tx2"/>
                </a:solidFill>
              </a:rPr>
              <a:t>outcome of a welfare optimisation</a:t>
            </a:r>
            <a:r>
              <a:rPr lang="en-GB" sz="1400"/>
              <a:t>, within the limits of the network constraints defined by TSOs.</a:t>
            </a:r>
          </a:p>
          <a:p>
            <a:pPr algn="just"/>
            <a:r>
              <a:rPr lang="en-GB" sz="1400"/>
              <a:t>In Summer 2024, </a:t>
            </a:r>
            <a:r>
              <a:rPr lang="en-GB" sz="1400">
                <a:solidFill>
                  <a:schemeClr val="tx2"/>
                </a:solidFill>
              </a:rPr>
              <a:t>available capacity in several network elements proved insufficient </a:t>
            </a:r>
            <a:r>
              <a:rPr lang="en-GB" sz="1400"/>
              <a:t>to accommodate the need for exchanges towards SEE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7533343-0D67-041F-D2F3-543F52E8B845}"/>
              </a:ext>
            </a:extLst>
          </p:cNvPr>
          <p:cNvGrpSpPr/>
          <p:nvPr/>
        </p:nvGrpSpPr>
        <p:grpSpPr>
          <a:xfrm>
            <a:off x="5458409" y="1248329"/>
            <a:ext cx="6130994" cy="5041690"/>
            <a:chOff x="5458409" y="1248329"/>
            <a:chExt cx="6130994" cy="504169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9DB4D53-5003-1A8E-3D5A-83B447FC21C6}"/>
                </a:ext>
              </a:extLst>
            </p:cNvPr>
            <p:cNvGrpSpPr/>
            <p:nvPr/>
          </p:nvGrpSpPr>
          <p:grpSpPr>
            <a:xfrm>
              <a:off x="5458409" y="1577921"/>
              <a:ext cx="6130994" cy="4712098"/>
              <a:chOff x="5458409" y="1577921"/>
              <a:chExt cx="6130994" cy="4712098"/>
            </a:xfrm>
          </p:grpSpPr>
          <p:pic>
            <p:nvPicPr>
              <p:cNvPr id="9" name="Graphic 8">
                <a:extLst>
                  <a:ext uri="{FF2B5EF4-FFF2-40B4-BE49-F238E27FC236}">
                    <a16:creationId xmlns:a16="http://schemas.microsoft.com/office/drawing/2014/main" id="{3E235DB4-B95D-D0EC-EC84-A4E9D46317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 l="12037" r="11781" b="22893"/>
              <a:stretch>
                <a:fillRect/>
              </a:stretch>
            </p:blipFill>
            <p:spPr>
              <a:xfrm>
                <a:off x="5458409" y="1577921"/>
                <a:ext cx="6130994" cy="3606808"/>
              </a:xfrm>
              <a:prstGeom prst="rect">
                <a:avLst/>
              </a:prstGeom>
            </p:spPr>
          </p:pic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A3F8CFAE-341E-C3BA-4E74-32A834C0E7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 l="27668" t="81321" r="25068" b="1735"/>
              <a:stretch>
                <a:fillRect/>
              </a:stretch>
            </p:blipFill>
            <p:spPr>
              <a:xfrm>
                <a:off x="5752584" y="5092451"/>
                <a:ext cx="5747224" cy="1197568"/>
              </a:xfrm>
              <a:prstGeom prst="rect">
                <a:avLst/>
              </a:prstGeom>
            </p:spPr>
          </p:pic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4292C64-2D82-4FD6-9CD6-8FA11754D255}"/>
                </a:ext>
              </a:extLst>
            </p:cNvPr>
            <p:cNvSpPr txBox="1"/>
            <p:nvPr/>
          </p:nvSpPr>
          <p:spPr>
            <a:xfrm>
              <a:off x="5458409" y="1248329"/>
              <a:ext cx="6013591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100" b="1">
                  <a:solidFill>
                    <a:schemeClr val="tx2"/>
                  </a:solidFill>
                </a:rPr>
                <a:t>Network elements in Core flow-based market coupling preventing additional exchanges to CEE-SEE during the evening peaks (18:00 to 22:00 CEST) - July to September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5443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ADAE2-EBE6-278D-AD5E-F72F43DC0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E1F03-EA95-FEDE-0674-0EC045BBD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597" y="1620"/>
            <a:ext cx="10372965" cy="1080000"/>
          </a:xfrm>
        </p:spPr>
        <p:txBody>
          <a:bodyPr/>
          <a:lstStyle/>
          <a:p>
            <a:r>
              <a:rPr lang="en-GB" sz="2800">
                <a:latin typeface="Arial"/>
                <a:cs typeface="Arial"/>
              </a:rPr>
              <a:t>Proposed measures: summary table</a:t>
            </a:r>
            <a:br>
              <a:rPr lang="en-GB" sz="2800">
                <a:latin typeface="Arial"/>
                <a:cs typeface="Arial"/>
              </a:rPr>
            </a:br>
            <a:r>
              <a:rPr lang="en-GB" sz="2000" b="0">
                <a:solidFill>
                  <a:srgbClr val="FF0000"/>
                </a:solidFill>
                <a:latin typeface="Arial"/>
                <a:cs typeface="Arial"/>
              </a:rPr>
              <a:t>work in progress</a:t>
            </a:r>
            <a:endParaRPr lang="en-GB" sz="2800" b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818252-E248-F06B-45F5-C26B07079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4</a:t>
            </a:fld>
            <a:endParaRPr lang="en-SI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AE59B40-D30E-4D05-BD20-47FFD31D38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771537"/>
              </p:ext>
            </p:extLst>
          </p:nvPr>
        </p:nvGraphicFramePr>
        <p:xfrm>
          <a:off x="646070" y="1017887"/>
          <a:ext cx="10942956" cy="5147826"/>
        </p:xfrm>
        <a:graphic>
          <a:graphicData uri="http://schemas.openxmlformats.org/drawingml/2006/table">
            <a:tbl>
              <a:tblPr firstRow="1" firstCol="1"/>
              <a:tblGrid>
                <a:gridCol w="355172">
                  <a:extLst>
                    <a:ext uri="{9D8B030D-6E8A-4147-A177-3AD203B41FA5}">
                      <a16:colId xmlns:a16="http://schemas.microsoft.com/office/drawing/2014/main" val="2790914217"/>
                    </a:ext>
                  </a:extLst>
                </a:gridCol>
                <a:gridCol w="1040136">
                  <a:extLst>
                    <a:ext uri="{9D8B030D-6E8A-4147-A177-3AD203B41FA5}">
                      <a16:colId xmlns:a16="http://schemas.microsoft.com/office/drawing/2014/main" val="1451666536"/>
                    </a:ext>
                  </a:extLst>
                </a:gridCol>
                <a:gridCol w="2509578">
                  <a:extLst>
                    <a:ext uri="{9D8B030D-6E8A-4147-A177-3AD203B41FA5}">
                      <a16:colId xmlns:a16="http://schemas.microsoft.com/office/drawing/2014/main" val="2419062424"/>
                    </a:ext>
                  </a:extLst>
                </a:gridCol>
                <a:gridCol w="5892538">
                  <a:extLst>
                    <a:ext uri="{9D8B030D-6E8A-4147-A177-3AD203B41FA5}">
                      <a16:colId xmlns:a16="http://schemas.microsoft.com/office/drawing/2014/main" val="4090005295"/>
                    </a:ext>
                  </a:extLst>
                </a:gridCol>
                <a:gridCol w="1145532">
                  <a:extLst>
                    <a:ext uri="{9D8B030D-6E8A-4147-A177-3AD203B41FA5}">
                      <a16:colId xmlns:a16="http://schemas.microsoft.com/office/drawing/2014/main" val="2130576089"/>
                    </a:ext>
                  </a:extLst>
                </a:gridCol>
              </a:tblGrid>
              <a:tr h="35955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000" b="1" kern="1200">
                          <a:solidFill>
                            <a:schemeClr val="bg1"/>
                          </a:solidFill>
                          <a:effectLst/>
                          <a:highlight>
                            <a:srgbClr val="004FEE"/>
                          </a:highlight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>
                          <a:solidFill>
                            <a:schemeClr val="bg1"/>
                          </a:solidFill>
                          <a:effectLst/>
                          <a:highlight>
                            <a:srgbClr val="004FEE"/>
                          </a:highlight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oup: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EE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bg1"/>
                          </a:solidFill>
                          <a:effectLst/>
                          <a:highlight>
                            <a:srgbClr val="004FEE"/>
                          </a:highlight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asure: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EE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bg1"/>
                          </a:solidFill>
                          <a:effectLst/>
                          <a:highlight>
                            <a:srgbClr val="004FEE"/>
                          </a:highlight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hort description: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EE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 kern="1200">
                          <a:solidFill>
                            <a:schemeClr val="bg1"/>
                          </a:solidFill>
                          <a:effectLst/>
                          <a:highlight>
                            <a:srgbClr val="004FEE"/>
                          </a:highlight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levant where: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756183"/>
                  </a:ext>
                </a:extLst>
              </a:tr>
              <a:tr h="430033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0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w-cost investment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ynamic line rating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ynamic line rating (DLR) application in real time.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ce available in real time, DLR consideration in capacity calculation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295284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w-cost investment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pgrading of conducto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Replacing conductors with high-temperature low-sag (HTLS) technologies to increase ampacity.</a:t>
                      </a:r>
                      <a:endParaRPr lang="en-GB" sz="1000" kern="120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3460204"/>
                  </a:ext>
                </a:extLst>
              </a:tr>
              <a:tr h="37851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C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age planning coordination:</a:t>
                      </a:r>
                      <a:b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aptable &amp; with capacity calculation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grating a dimension of capacity calculation in yearly outage planning coordination (OPC).</a:t>
                      </a:r>
                    </a:p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000"/>
                        <a:t>Introducing </a:t>
                      </a:r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flexibility in outage planning in case of severe </a:t>
                      </a:r>
                      <a:r>
                        <a:rPr lang="en-GB" sz="1000"/>
                        <a:t>market congestion on CNECs</a:t>
                      </a: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7456225"/>
                  </a:ext>
                </a:extLst>
              </a:tr>
              <a:tr h="60562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C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roving 70% derogation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hort term: Dynamic requirements per CNEC and MTU, considering remedial actions potential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dium term: Accelerating ROSC and RDCT Cost Sharing to avoid loop flow-based derogations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r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1427145"/>
                  </a:ext>
                </a:extLst>
              </a:tr>
              <a:tr h="41142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C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rative remedial actions in real time and capacity calcula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rative remedial actions (cRA) to be considered in real time and then modelled in capacity calcula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1479058"/>
                  </a:ext>
                </a:extLst>
              </a:tr>
              <a:tr h="60562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C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roved grid modelling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pplying common Net position Forecast (NPF) for IGM building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change &amp; usage of most representative individual grid models (IGM) among CCRs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nique common grid model (CGM) at least per synchronous area for capacity calcula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E, SE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7308901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rastructur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twork flexibility investment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STs, grid booster batteries, SSSC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6664054"/>
                  </a:ext>
                </a:extLst>
              </a:tr>
              <a:tr h="40948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rastructur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rioritise investment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here needed, reprioritise network investments based on observed conges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3957656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GB" sz="100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d</a:t>
                      </a: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untri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ket coupling extens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tension of SDAC/SIDC/IDAs to EnC countri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EE+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654513"/>
                  </a:ext>
                </a:extLst>
              </a:tr>
              <a:tr h="86891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ke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neral market design improvement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tending flow-based regions &amp; advanced hybrid coupling at perimeters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ructural decrease of excessive loop flows (LT continuation of No. 4)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low based calculation and allocation at intraday and balancing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moving barriers to participation in wholesale markets (i.e. storage and demand response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993955"/>
                  </a:ext>
                </a:extLst>
              </a:tr>
            </a:tbl>
          </a:graphicData>
        </a:graphic>
      </p:graphicFrame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26E3C0D-E46A-7CA7-542B-F7307B1D0782}"/>
              </a:ext>
            </a:extLst>
          </p:cNvPr>
          <p:cNvSpPr txBox="1">
            <a:spLocks/>
          </p:cNvSpPr>
          <p:nvPr/>
        </p:nvSpPr>
        <p:spPr>
          <a:xfrm>
            <a:off x="533400" y="6340851"/>
            <a:ext cx="10430151" cy="458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4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GB"/>
              <a:t>Note: In yellow, concrete improvements potentially implemented in the short- and mid-term.</a:t>
            </a:r>
          </a:p>
        </p:txBody>
      </p:sp>
    </p:spTree>
    <p:extLst>
      <p:ext uri="{BB962C8B-B14F-4D97-AF65-F5344CB8AC3E}">
        <p14:creationId xmlns:p14="http://schemas.microsoft.com/office/powerpoint/2010/main" val="1716519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205BB-59A7-ECDE-0BD2-DD2328318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5A5D3D-DA87-000D-D64D-EC7F4D4A9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5</a:t>
            </a:fld>
            <a:endParaRPr lang="en-SI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8494363-BA3D-A929-FD46-2926B16C2424}"/>
              </a:ext>
            </a:extLst>
          </p:cNvPr>
          <p:cNvSpPr txBox="1">
            <a:spLocks/>
          </p:cNvSpPr>
          <p:nvPr/>
        </p:nvSpPr>
        <p:spPr>
          <a:xfrm>
            <a:off x="647958" y="1345730"/>
            <a:ext cx="4573431" cy="473122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ystem Font Regular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Traditional static ratings </a:t>
            </a:r>
            <a:r>
              <a:rPr lang="en-GB"/>
              <a:t>of OHLs are based on </a:t>
            </a:r>
            <a:r>
              <a:rPr lang="en-GB">
                <a:solidFill>
                  <a:schemeClr val="tx2"/>
                </a:solidFill>
              </a:rPr>
              <a:t>conservative estimates </a:t>
            </a:r>
            <a:r>
              <a:rPr lang="en-GB"/>
              <a:t>and worst-case scenari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/>
              <a:t>Under more </a:t>
            </a:r>
            <a:r>
              <a:rPr lang="en-GB">
                <a:solidFill>
                  <a:schemeClr val="tx2"/>
                </a:solidFill>
              </a:rPr>
              <a:t>favourable conditions </a:t>
            </a:r>
            <a:r>
              <a:rPr lang="en-GB"/>
              <a:t>(such as lower temperatures and higher wind speeds), </a:t>
            </a:r>
            <a:r>
              <a:rPr lang="en-GB">
                <a:solidFill>
                  <a:schemeClr val="tx2"/>
                </a:solidFill>
              </a:rPr>
              <a:t>ampacity can be safely increased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/>
              <a:t>By increasing the ampacity of existing lines under favourable conditions, </a:t>
            </a:r>
            <a:r>
              <a:rPr lang="en-GB">
                <a:solidFill>
                  <a:schemeClr val="tx2"/>
                </a:solidFill>
              </a:rPr>
              <a:t>DLR can reduce the need for building new transmission line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/>
              <a:t>For DLR to increase cross-zonal trade, </a:t>
            </a:r>
            <a:r>
              <a:rPr lang="en-GB">
                <a:solidFill>
                  <a:schemeClr val="tx2"/>
                </a:solidFill>
              </a:rPr>
              <a:t>it needs to be modelled in capacity calculation </a:t>
            </a:r>
            <a:r>
              <a:rPr lang="en-GB"/>
              <a:t>(i.e. forecasting meteorological conditions in D-2)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DC21C1-DE31-EC20-75D9-0DD342D5184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499"/>
          <a:stretch>
            <a:fillRect/>
          </a:stretch>
        </p:blipFill>
        <p:spPr>
          <a:xfrm>
            <a:off x="5221389" y="2029968"/>
            <a:ext cx="6466800" cy="385056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CE7833D-BA3C-69E5-4830-45A5EDD1E798}"/>
              </a:ext>
            </a:extLst>
          </p:cNvPr>
          <p:cNvSpPr txBox="1"/>
          <p:nvPr/>
        </p:nvSpPr>
        <p:spPr>
          <a:xfrm>
            <a:off x="441198" y="6431498"/>
            <a:ext cx="60944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/>
              <a:t>Source: </a:t>
            </a:r>
            <a:r>
              <a:rPr lang="en-GB" sz="1200">
                <a:hlinkClick r:id="rId3"/>
              </a:rPr>
              <a:t>IRENA brief</a:t>
            </a:r>
            <a:endParaRPr lang="en-GB" sz="1200"/>
          </a:p>
        </p:txBody>
      </p:sp>
      <p:sp>
        <p:nvSpPr>
          <p:cNvPr id="3" name="Text Box 1">
            <a:extLst>
              <a:ext uri="{FF2B5EF4-FFF2-40B4-BE49-F238E27FC236}">
                <a16:creationId xmlns:a16="http://schemas.microsoft.com/office/drawing/2014/main" id="{2A3901AD-A9C7-A9DE-E9BD-2D6B2FFFC316}"/>
              </a:ext>
            </a:extLst>
          </p:cNvPr>
          <p:cNvSpPr txBox="1"/>
          <p:nvPr/>
        </p:nvSpPr>
        <p:spPr>
          <a:xfrm>
            <a:off x="5727729" y="1506741"/>
            <a:ext cx="5197446" cy="287031"/>
          </a:xfrm>
          <a:prstGeom prst="rect">
            <a:avLst/>
          </a:prstGeom>
          <a:solidFill>
            <a:prstClr val="white"/>
          </a:solidFill>
          <a:ln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1000"/>
              </a:spcAft>
            </a:pPr>
            <a:r>
              <a:rPr lang="en-GB" sz="1100" b="1">
                <a:solidFill>
                  <a:schemeClr val="tx2"/>
                </a:solidFill>
              </a:rPr>
              <a:t>Exemplary figure on functioning of dynamic line rating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EDF76A3-C2F2-0544-7809-7B78441EF777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1. Dynamic line rating (DLR)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20202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E8ACFC-B1E5-9BE4-4EE8-8CFF6C5D66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999" y="1445198"/>
            <a:ext cx="4633383" cy="4787325"/>
          </a:xfrm>
        </p:spPr>
        <p:txBody>
          <a:bodyPr>
            <a:normAutofit fontScale="85000" lnSpcReduction="10000"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900"/>
              <a:t>Fmax reported in day-ahead capacity calculation can serve to estimate the </a:t>
            </a:r>
            <a:r>
              <a:rPr lang="en-GB" sz="1900">
                <a:solidFill>
                  <a:schemeClr val="tx2"/>
                </a:solidFill>
              </a:rPr>
              <a:t>usage of DLR on every CN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900"/>
              <a:t>CNEs with </a:t>
            </a:r>
            <a:r>
              <a:rPr lang="en-GB" sz="1900">
                <a:solidFill>
                  <a:schemeClr val="tx2"/>
                </a:solidFill>
              </a:rPr>
              <a:t>high cumulative shadow price present the largest potential benefit </a:t>
            </a:r>
            <a:r>
              <a:rPr lang="en-GB" sz="1900"/>
              <a:t>from DLR introduction in capacity calculation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900"/>
              <a:t>The figure represents to what extent the </a:t>
            </a:r>
            <a:r>
              <a:rPr lang="en-GB" sz="1900">
                <a:solidFill>
                  <a:schemeClr val="tx2"/>
                </a:solidFill>
              </a:rPr>
              <a:t>rating of congested CNE </a:t>
            </a:r>
            <a:r>
              <a:rPr lang="en-GB" sz="1900"/>
              <a:t>in 2024 was dynamic: </a:t>
            </a:r>
          </a:p>
          <a:p>
            <a:pPr marL="742950" lvl="1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1900"/>
              <a:t>4 or less distinct Fmax values over the year indicates </a:t>
            </a:r>
            <a:r>
              <a:rPr lang="en-GB" sz="1900">
                <a:solidFill>
                  <a:schemeClr val="tx2"/>
                </a:solidFill>
              </a:rPr>
              <a:t>fixed ratings for at least each season. </a:t>
            </a: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900"/>
              <a:t>TSOs operating </a:t>
            </a:r>
            <a:r>
              <a:rPr lang="en-GB" sz="1900">
                <a:solidFill>
                  <a:schemeClr val="tx2"/>
                </a:solidFill>
              </a:rPr>
              <a:t>cross-border CNEs often use different ratings for the same element, </a:t>
            </a:r>
            <a:r>
              <a:rPr lang="en-GB" sz="1900"/>
              <a:t>with the most restrictive of the two being relevan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36D676-4AC3-845B-E47C-BDD34AE3C1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6</a:t>
            </a:fld>
            <a:endParaRPr lang="en-SI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45E57DD-5AEC-3362-C777-14EEBA2F0B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89484" y="1285759"/>
            <a:ext cx="5951342" cy="4991041"/>
          </a:xfrm>
          <a:prstGeom prst="rect">
            <a:avLst/>
          </a:prstGeom>
        </p:spPr>
      </p:pic>
      <p:sp>
        <p:nvSpPr>
          <p:cNvPr id="6" name="Text Box 1">
            <a:extLst>
              <a:ext uri="{FF2B5EF4-FFF2-40B4-BE49-F238E27FC236}">
                <a16:creationId xmlns:a16="http://schemas.microsoft.com/office/drawing/2014/main" id="{E7E3A11F-6EC5-7598-9CD2-AD376C442728}"/>
              </a:ext>
            </a:extLst>
          </p:cNvPr>
          <p:cNvSpPr txBox="1"/>
          <p:nvPr/>
        </p:nvSpPr>
        <p:spPr>
          <a:xfrm>
            <a:off x="5638800" y="1285759"/>
            <a:ext cx="5857200" cy="255384"/>
          </a:xfrm>
          <a:prstGeom prst="rect">
            <a:avLst/>
          </a:prstGeom>
          <a:solidFill>
            <a:prstClr val="white"/>
          </a:solidFill>
          <a:ln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1000"/>
              </a:spcAft>
            </a:pPr>
            <a:r>
              <a:rPr lang="en-GB" sz="1400" b="1">
                <a:solidFill>
                  <a:schemeClr val="tx2"/>
                </a:solidFill>
              </a:rPr>
              <a:t>Usage of dynamic line rating in Core capacity calculation on congested CNEs - 2024 (EUR/MW)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41BFC5B-BA50-7786-40DC-D766782419C8}"/>
              </a:ext>
            </a:extLst>
          </p:cNvPr>
          <p:cNvSpPr txBox="1">
            <a:spLocks/>
          </p:cNvSpPr>
          <p:nvPr/>
        </p:nvSpPr>
        <p:spPr>
          <a:xfrm>
            <a:off x="698500" y="6431554"/>
            <a:ext cx="10795000" cy="276888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</a:rPr>
              <a:t>Source: ACER calculation based on JAO Publication Tool data. Only power lines with non-zero shadow price are considered, excluding transformers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D99540D-3BA6-9C02-91FA-A5D96C0C142F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1. Dynamic line rating (DLR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Assessment of current practices in Core FBMC </a:t>
            </a:r>
          </a:p>
        </p:txBody>
      </p:sp>
    </p:spTree>
    <p:extLst>
      <p:ext uri="{BB962C8B-B14F-4D97-AF65-F5344CB8AC3E}">
        <p14:creationId xmlns:p14="http://schemas.microsoft.com/office/powerpoint/2010/main" val="29493156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98917-EDD6-F959-61F8-C54A2F9F40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18133-04E9-CB8E-DEBE-96BA8EB00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7</a:t>
            </a:fld>
            <a:endParaRPr lang="en-SI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B9FE39-C923-E8DA-48A6-E775F406F77E}"/>
              </a:ext>
            </a:extLst>
          </p:cNvPr>
          <p:cNvSpPr txBox="1"/>
          <p:nvPr/>
        </p:nvSpPr>
        <p:spPr>
          <a:xfrm>
            <a:off x="541782" y="6446887"/>
            <a:ext cx="10056114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ACER calculation based on JAO Publication Tool data.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6187594-F625-A988-8590-570ECE3F25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980" y="1499616"/>
            <a:ext cx="10771020" cy="3885534"/>
          </a:xfrm>
        </p:spPr>
        <p:txBody>
          <a:bodyPr>
            <a:normAutofit/>
          </a:bodyPr>
          <a:lstStyle/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dirty="0"/>
              <a:t>Prioritise the implementation of </a:t>
            </a:r>
            <a:r>
              <a:rPr lang="en-GB" dirty="0">
                <a:solidFill>
                  <a:schemeClr val="tx2"/>
                </a:solidFill>
              </a:rPr>
              <a:t>dynamic line rating on highly congested network elements, </a:t>
            </a:r>
            <a:r>
              <a:rPr lang="en-GB" dirty="0"/>
              <a:t>where potential market gains outweigh implementation costs. </a:t>
            </a:r>
          </a:p>
          <a:p>
            <a:pPr marL="742950" lvl="1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dirty="0"/>
              <a:t>In preparation for Summer 2026: Where possible, accelerate plans for DLR rollout in CE-SEE (e.g. in SK, HU, RO, HR, GR).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dirty="0"/>
              <a:t>Once DLR is available in real-time processes, </a:t>
            </a:r>
            <a:r>
              <a:rPr lang="en-GB" dirty="0">
                <a:solidFill>
                  <a:schemeClr val="tx2"/>
                </a:solidFill>
              </a:rPr>
              <a:t>make sure it is reflected as such in capacity calculation.</a:t>
            </a:r>
          </a:p>
          <a:p>
            <a:pPr marL="742950" lvl="1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dirty="0"/>
              <a:t>SI to incorporate dynamic line rating (already used in real-time) into capacity calculation.  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dirty="0"/>
              <a:t>On cross-border lines, ensure that </a:t>
            </a:r>
            <a:r>
              <a:rPr lang="en-GB" dirty="0">
                <a:solidFill>
                  <a:schemeClr val="tx2"/>
                </a:solidFill>
              </a:rPr>
              <a:t>rating of power lines is coordinated between the two TSOs</a:t>
            </a:r>
            <a:r>
              <a:rPr lang="en-GB" dirty="0"/>
              <a:t> operating the border. </a:t>
            </a:r>
          </a:p>
          <a:p>
            <a:pPr marL="742950" lvl="1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dirty="0"/>
              <a:t>E.g. AT-SI cross-border lines only having DLR from the AT side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217F65-225A-3D30-EA66-48DEFC49D1D5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1. Dynamic line rating (DLR)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Proposals </a:t>
            </a:r>
          </a:p>
        </p:txBody>
      </p:sp>
    </p:spTree>
    <p:extLst>
      <p:ext uri="{BB962C8B-B14F-4D97-AF65-F5344CB8AC3E}">
        <p14:creationId xmlns:p14="http://schemas.microsoft.com/office/powerpoint/2010/main" val="2908335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019E2-78F5-01A2-AD07-0D87249356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BF26EC-5CD2-ED08-625F-13C4C85DD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8</a:t>
            </a:fld>
            <a:endParaRPr lang="en-SI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4DE2013-B0FD-8319-92B0-AFB2D770CB55}"/>
              </a:ext>
            </a:extLst>
          </p:cNvPr>
          <p:cNvSpPr txBox="1">
            <a:spLocks/>
          </p:cNvSpPr>
          <p:nvPr/>
        </p:nvSpPr>
        <p:spPr>
          <a:xfrm>
            <a:off x="714633" y="1399830"/>
            <a:ext cx="4808343" cy="471435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ystem Font Regular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/>
              <a:t>Replacing existing overhead line conductors with high-temperature low-sag (HTLS) conductors allows </a:t>
            </a:r>
            <a:r>
              <a:rPr lang="en-GB" sz="1600">
                <a:solidFill>
                  <a:schemeClr val="tx2"/>
                </a:solidFill>
              </a:rPr>
              <a:t>to increase ampacity (up to 100%)</a:t>
            </a:r>
            <a:r>
              <a:rPr lang="en-GB" sz="1600"/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/>
              <a:t>Reusing existing towers and right-of-way usually results in </a:t>
            </a:r>
            <a:r>
              <a:rPr lang="en-GB" sz="1600">
                <a:solidFill>
                  <a:schemeClr val="tx2"/>
                </a:solidFill>
              </a:rPr>
              <a:t>faster and less costly build-out.</a:t>
            </a:r>
            <a:endParaRPr lang="en-GB" sz="1600"/>
          </a:p>
          <a:p>
            <a:pPr marL="742950" lvl="2" indent="-285750" algn="just">
              <a:lnSpc>
                <a:spcPct val="12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GB"/>
              <a:t>TSOs report that works on reinforcing pylons and/or on adjacent substations may be needed, leading to </a:t>
            </a:r>
            <a:r>
              <a:rPr lang="en-GB">
                <a:solidFill>
                  <a:schemeClr val="tx2"/>
                </a:solidFill>
              </a:rPr>
              <a:t>longer project times. </a:t>
            </a:r>
          </a:p>
          <a:p>
            <a:pPr algn="just"/>
            <a:r>
              <a:rPr lang="en-GB" sz="1600" u="sng">
                <a:solidFill>
                  <a:schemeClr val="tx2"/>
                </a:solidFill>
              </a:rPr>
              <a:t>PROPOSAL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/>
              <a:t>TSOs to </a:t>
            </a:r>
            <a:r>
              <a:rPr lang="en-GB" sz="1600">
                <a:solidFill>
                  <a:schemeClr val="tx2"/>
                </a:solidFill>
              </a:rPr>
              <a:t>consider upgrading conductors on existing overhead lines </a:t>
            </a:r>
            <a:r>
              <a:rPr lang="en-GB" sz="1600"/>
              <a:t>as an alternative to building new lines, in particular on highly congested CNECs with low Fmax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F3B3BD6-B562-528C-B4BD-957B9EA353F3}"/>
              </a:ext>
            </a:extLst>
          </p:cNvPr>
          <p:cNvSpPr txBox="1">
            <a:spLocks/>
          </p:cNvSpPr>
          <p:nvPr/>
        </p:nvSpPr>
        <p:spPr>
          <a:xfrm>
            <a:off x="6096000" y="1399830"/>
            <a:ext cx="5477164" cy="38931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1000"/>
              </a:spcAft>
              <a:buNone/>
            </a:pPr>
            <a:r>
              <a:rPr lang="en-GB" sz="1400" b="1">
                <a:solidFill>
                  <a:schemeClr val="tx2"/>
                </a:solidFill>
              </a:rPr>
              <a:t>Impact on Fmax of upgrading the conductor of cross-border line </a:t>
            </a:r>
            <a:r>
              <a:rPr lang="en-GB" sz="1400" b="1" err="1">
                <a:solidFill>
                  <a:schemeClr val="tx2"/>
                </a:solidFill>
              </a:rPr>
              <a:t>Avelgem</a:t>
            </a:r>
            <a:r>
              <a:rPr lang="en-GB" sz="1400" b="1">
                <a:solidFill>
                  <a:schemeClr val="tx2"/>
                </a:solidFill>
              </a:rPr>
              <a:t> - Avelin (MW)</a:t>
            </a:r>
          </a:p>
          <a:p>
            <a:pPr marL="0" indent="0">
              <a:buNone/>
            </a:pPr>
            <a:r>
              <a:rPr lang="en-GB" sz="1050">
                <a:latin typeface="Arial"/>
                <a:cs typeface="Arial"/>
              </a:rPr>
              <a:t>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EF4264F-47B8-53B4-E8DA-63E322015A10}"/>
              </a:ext>
            </a:extLst>
          </p:cNvPr>
          <p:cNvGrpSpPr/>
          <p:nvPr/>
        </p:nvGrpSpPr>
        <p:grpSpPr>
          <a:xfrm>
            <a:off x="5988765" y="2312923"/>
            <a:ext cx="5691633" cy="3801261"/>
            <a:chOff x="6004937" y="2017648"/>
            <a:chExt cx="5691633" cy="3801261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2FEF6909-19A6-06A6-8D3F-C13DF6A8B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04937" y="2017648"/>
              <a:ext cx="5691633" cy="3801261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EC44FB1-ED7E-511D-4DE1-45BC78AFF152}"/>
                </a:ext>
              </a:extLst>
            </p:cNvPr>
            <p:cNvCxnSpPr/>
            <p:nvPr/>
          </p:nvCxnSpPr>
          <p:spPr>
            <a:xfrm>
              <a:off x="8054109" y="2126674"/>
              <a:ext cx="0" cy="3260436"/>
            </a:xfrm>
            <a:prstGeom prst="line">
              <a:avLst/>
            </a:pr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7AD18B0-EC09-105B-C70E-B13DBCD090FB}"/>
                </a:ext>
              </a:extLst>
            </p:cNvPr>
            <p:cNvCxnSpPr/>
            <p:nvPr/>
          </p:nvCxnSpPr>
          <p:spPr>
            <a:xfrm>
              <a:off x="10053782" y="2126674"/>
              <a:ext cx="0" cy="3260436"/>
            </a:xfrm>
            <a:prstGeom prst="line">
              <a:avLst/>
            </a:pr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3A9F1ED2-E602-997A-7353-8071BEBDAD8E}"/>
                </a:ext>
              </a:extLst>
            </p:cNvPr>
            <p:cNvCxnSpPr/>
            <p:nvPr/>
          </p:nvCxnSpPr>
          <p:spPr>
            <a:xfrm>
              <a:off x="8054109" y="4941453"/>
              <a:ext cx="1999673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56B03E-89A2-FDFE-82E6-BB79D439DD47}"/>
                </a:ext>
              </a:extLst>
            </p:cNvPr>
            <p:cNvSpPr txBox="1"/>
            <p:nvPr/>
          </p:nvSpPr>
          <p:spPr>
            <a:xfrm>
              <a:off x="8438061" y="4603923"/>
              <a:ext cx="1231769" cy="314035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normAutofit/>
            </a:bodyPr>
            <a:lstStyle/>
            <a:p>
              <a:pPr algn="l">
                <a:spcAft>
                  <a:spcPts val="600"/>
                </a:spcAft>
                <a:buClr>
                  <a:schemeClr val="tx2"/>
                </a:buClr>
              </a:pPr>
              <a:r>
                <a:rPr lang="en-GB" sz="1400">
                  <a:solidFill>
                    <a:schemeClr val="tx2"/>
                  </a:solidFill>
                </a:rPr>
                <a:t>Maintenance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9AB57D6-F145-F9A1-3118-86ACD3EC9AC1}"/>
              </a:ext>
            </a:extLst>
          </p:cNvPr>
          <p:cNvSpPr txBox="1"/>
          <p:nvPr/>
        </p:nvSpPr>
        <p:spPr>
          <a:xfrm>
            <a:off x="8327341" y="2978100"/>
            <a:ext cx="1420863" cy="450900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GB" sz="1400">
                <a:solidFill>
                  <a:schemeClr val="tx2"/>
                </a:solidFill>
              </a:rPr>
              <a:t>Fmax increase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58DE63F-809F-2A1B-E1AB-DD28C1E6C0B0}"/>
              </a:ext>
            </a:extLst>
          </p:cNvPr>
          <p:cNvCxnSpPr>
            <a:cxnSpLocks/>
          </p:cNvCxnSpPr>
          <p:nvPr/>
        </p:nvCxnSpPr>
        <p:spPr>
          <a:xfrm flipV="1">
            <a:off x="8191056" y="3063825"/>
            <a:ext cx="1743519" cy="1040071"/>
          </a:xfrm>
          <a:prstGeom prst="straightConnector1">
            <a:avLst/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08D0A98-E8FF-6470-7DF3-302DEB1A0828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2. Upgrading of conductors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Background and proposals </a:t>
            </a:r>
          </a:p>
        </p:txBody>
      </p:sp>
    </p:spTree>
    <p:extLst>
      <p:ext uri="{BB962C8B-B14F-4D97-AF65-F5344CB8AC3E}">
        <p14:creationId xmlns:p14="http://schemas.microsoft.com/office/powerpoint/2010/main" val="1377867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685640-48AC-D932-5402-F02997BCC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2C8747-F2B2-969A-0CC8-9D98B2860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9</a:t>
            </a:fld>
            <a:endParaRPr lang="en-SI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0D9F418-AC80-FF87-B7F4-65C55C2F1B9A}"/>
              </a:ext>
            </a:extLst>
          </p:cNvPr>
          <p:cNvSpPr txBox="1">
            <a:spLocks/>
          </p:cNvSpPr>
          <p:nvPr/>
        </p:nvSpPr>
        <p:spPr>
          <a:xfrm>
            <a:off x="714633" y="1326679"/>
            <a:ext cx="10757368" cy="46508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ystem Font Regular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2925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/>
              <a:t>Currently, OPC process is organised per OPC areas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/>
              <a:t>different processes per RCC, even within the same CCR</a:t>
            </a:r>
          </a:p>
          <a:p>
            <a:pPr marL="542925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/>
              <a:t>Transmission elements planned outages are assessed on yearly level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/>
              <a:t>with security analysis (load flow, n-1)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>
                <a:solidFill>
                  <a:schemeClr val="tx2"/>
                </a:solidFill>
              </a:rPr>
              <a:t>no estimation of impact of certain outages on cross-zonal capacity</a:t>
            </a:r>
          </a:p>
          <a:p>
            <a:pPr marL="542925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/>
              <a:t>Grid analyses additionally on week ahead level 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/>
              <a:t>without dedicated week-ahead grid modelling (using adjusted Y models)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/>
              <a:t>resulting in potential adjustments of maintenance plans, only in the event of n-1 violations</a:t>
            </a:r>
          </a:p>
          <a:p>
            <a:pPr marL="1000125" lvl="1" indent="-276225">
              <a:lnSpc>
                <a:spcPct val="150000"/>
              </a:lnSpc>
              <a:buFont typeface="Wingdings" pitchFamily="2" charset="2"/>
              <a:buChar char="§"/>
            </a:pPr>
            <a:r>
              <a:rPr lang="en-GB">
                <a:solidFill>
                  <a:schemeClr val="tx2"/>
                </a:solidFill>
              </a:rPr>
              <a:t>however, no adjustments in the case of highly limiting network element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0DCAAD7-4C7A-ECF8-3F70-4843B9390CA7}"/>
              </a:ext>
            </a:extLst>
          </p:cNvPr>
          <p:cNvSpPr txBox="1">
            <a:spLocks/>
          </p:cNvSpPr>
          <p:nvPr/>
        </p:nvSpPr>
        <p:spPr>
          <a:xfrm>
            <a:off x="2419242" y="68824"/>
            <a:ext cx="9052758" cy="1003002"/>
          </a:xfrm>
          <a:prstGeom prst="rect">
            <a:avLst/>
          </a:prstGeom>
        </p:spPr>
        <p:txBody>
          <a:bodyPr vert="horz" lIns="0" tIns="180000" rIns="0" bIns="18000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>
                <a:solidFill>
                  <a:schemeClr val="tx2"/>
                </a:solidFill>
              </a:rPr>
              <a:t>3. Outage Planning Coordination (OPC)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/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1579791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edkwdZ7Gi21gEkg5jh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wVdAIG4H3dlqafNRLr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2FjKycaAnVZmzMiN_J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20uJqKkqad5_VKfzvO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lZYF3xmgRVFDT13YAI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jK5I.OTPO45weMjixz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THNpTrTeWvrfMNTdGJ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W9ujwz1nCzNrCTKYhm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adyCZeb3sPpf5c5o8p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zWWbwzMi6JodUwN46L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DEQ1camVXnt_siiFzk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edkwdZ7Gi21gEkg5jh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FN66TZOG.qnYO_81ny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I66iUb8_ByQ0N3RNz2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nL2WYWcmHbtGcgGxIg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CuMxta6cp8CMmyWe9s4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EoCraYjTwASdDFjN8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v3eSxBv5z8EG0VLnre6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_22ZNb2.PKZCJLYiQ4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scdntgrAJpifk7Qdx0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f.ECzIn9o548HrE4Zf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pLQFjBdOI7hkOFWOny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9CJFTPY0bwNSABLC.Z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LM1YWvXF7Kyh85iW5c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HYbXuoTjDj13Ovmd5Y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QyVy1a4EHcUgUvpkAAk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GX5AzYUr8rYCTZQc3L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Z6.sHIkxg49.OIqSPz0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SPmULFLRFbUuAx1ujS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xQmPoYgb3SSCAz_Gq8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2cXETlXalKqFx6v9Zp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UHCypH70AiWzb7kNkkb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xANMpwRKr0TSVdNH0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k4oSKkbaETLbfIyTDa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YZ5Re.I89_CcJ9MF_f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AE4IQ1R5gUbBOkkRoH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60mGTCSXuR7_hjxZ9E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1t3WI4V4gxsvwwJcPP0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d_7TvRqH2AdUy8yDmZ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v3InjDIx8oj4AIMSMv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p0DHhYHHt8nX08CuG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wH.ixDvPHKeF.TyElh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ZF.P_sSGXhYjRNWHGl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.Hnny9tUoTizKxkM10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oHa6f82xHoQ9erRCI6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xqHwR0uVLa22k1lx.fIA"/>
</p:tagLst>
</file>

<file path=ppt/theme/theme1.xml><?xml version="1.0" encoding="utf-8"?>
<a:theme xmlns:a="http://schemas.openxmlformats.org/drawingml/2006/main" name="ACER THEME">
  <a:themeElements>
    <a:clrScheme name="ACER VIVID">
      <a:dk1>
        <a:srgbClr val="000000"/>
      </a:dk1>
      <a:lt1>
        <a:srgbClr val="FFFFFF"/>
      </a:lt1>
      <a:dk2>
        <a:srgbClr val="004FEE"/>
      </a:dk2>
      <a:lt2>
        <a:srgbClr val="E6E6E6"/>
      </a:lt2>
      <a:accent1>
        <a:srgbClr val="004FEE"/>
      </a:accent1>
      <a:accent2>
        <a:srgbClr val="9BE6DF"/>
      </a:accent2>
      <a:accent3>
        <a:srgbClr val="FEEA70"/>
      </a:accent3>
      <a:accent4>
        <a:srgbClr val="81F39C"/>
      </a:accent4>
      <a:accent5>
        <a:srgbClr val="BC9BFD"/>
      </a:accent5>
      <a:accent6>
        <a:srgbClr val="FC8585"/>
      </a:accent6>
      <a:hlink>
        <a:srgbClr val="004FEE"/>
      </a:hlink>
      <a:folHlink>
        <a:srgbClr val="004FE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91440" tIns="45720" rIns="91440" bIns="45720" rtlCol="0" anchor="t">
        <a:normAutofit/>
      </a:bodyPr>
      <a:lstStyle>
        <a:defPPr algn="l">
          <a:spcAft>
            <a:spcPts val="600"/>
          </a:spcAft>
          <a:buClr>
            <a:schemeClr val="tx2"/>
          </a:buCl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716E9012-CDCF-4958-99CA-CE9C84DFDE19}" vid="{D9773596-F7A3-437E-B28A-E0BC4690D4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328F7FD8389A43AB312E4C400F7DF5" ma:contentTypeVersion="13" ma:contentTypeDescription="Create a new document." ma:contentTypeScope="" ma:versionID="8a572e7372126483855a61273d1e1095">
  <xsd:schema xmlns:xsd="http://www.w3.org/2001/XMLSchema" xmlns:xs="http://www.w3.org/2001/XMLSchema" xmlns:p="http://schemas.microsoft.com/office/2006/metadata/properties" xmlns:ns2="f0be3f65-cc42-405d-9568-e251fd0d041e" xmlns:ns3="61a6aae5-cd67-4f3d-92a1-72f0c77c1830" targetNamespace="http://schemas.microsoft.com/office/2006/metadata/properties" ma:root="true" ma:fieldsID="42413061b7ac9555910c96a4513b9673" ns2:_="" ns3:_="">
    <xsd:import namespace="f0be3f65-cc42-405d-9568-e251fd0d041e"/>
    <xsd:import namespace="61a6aae5-cd67-4f3d-92a1-72f0c77c18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be3f65-cc42-405d-9568-e251fd0d04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cf03ac39-f38d-47fa-b4ed-7df6fcdd41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a6aae5-cd67-4f3d-92a1-72f0c77c1830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bcffd9ad-2f95-4507-bc2c-ff1fff93c12c}" ma:internalName="TaxCatchAll" ma:showField="CatchAllData" ma:web="61a6aae5-cd67-4f3d-92a1-72f0c77c18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1a6aae5-cd67-4f3d-92a1-72f0c77c1830" xsi:nil="true"/>
    <lcf76f155ced4ddcb4097134ff3c332f xmlns="f0be3f65-cc42-405d-9568-e251fd0d041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E2DC088-0FBA-4AFB-A3D9-8EE2CEA8A8F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F2F9B5-1A87-4292-BCEF-4BB0D297DC9F}">
  <ds:schemaRefs>
    <ds:schemaRef ds:uri="61a6aae5-cd67-4f3d-92a1-72f0c77c1830"/>
    <ds:schemaRef ds:uri="f0be3f65-cc42-405d-9568-e251fd0d041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117AA77-C085-4EFA-9DA4-6E5FD2991143}">
  <ds:schemaRefs>
    <ds:schemaRef ds:uri="61a6aae5-cd67-4f3d-92a1-72f0c77c1830"/>
    <ds:schemaRef ds:uri="f0be3f65-cc42-405d-9568-e251fd0d041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3142</Words>
  <Application>Microsoft Office PowerPoint</Application>
  <PresentationFormat>Widescreen</PresentationFormat>
  <Paragraphs>360</Paragraphs>
  <Slides>2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Arial Unicode MS</vt:lpstr>
      <vt:lpstr>Calibri</vt:lpstr>
      <vt:lpstr>Wingdings</vt:lpstr>
      <vt:lpstr>ACER THEME</vt:lpstr>
      <vt:lpstr>Packager Shell Object</vt:lpstr>
      <vt:lpstr>Measures to increase cross-zonal capacities and flexibility in SEE+</vt:lpstr>
      <vt:lpstr>Introduction to EUTF assessment</vt:lpstr>
      <vt:lpstr>What prevented more exchanges towards SEE? </vt:lpstr>
      <vt:lpstr>Proposed measures: summary table work in progre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ck-up slides</vt:lpstr>
      <vt:lpstr>1. Dynamic line rating (DLR) Example of DLR implementation</vt:lpstr>
      <vt:lpstr>PowerPoint Presentation</vt:lpstr>
      <vt:lpstr>5. Use of curative remedial actions (cRA) Curative remedial actions - Findings from Core CCR</vt:lpstr>
      <vt:lpstr>PowerPoint Presentation</vt:lpstr>
      <vt:lpstr>6. Improvement of grid modelling CGM improvement roadmap from Core TSOs</vt:lpstr>
    </vt:vector>
  </TitlesOfParts>
  <Company>European Agency for Cooperation of Energy Regulato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gnacio MUNIOZGUREN GARCIA (ACER)</dc:creator>
  <cp:lastModifiedBy>Ignacio MUNIOZGUREN GARCIA (ACER)</cp:lastModifiedBy>
  <cp:revision>1</cp:revision>
  <dcterms:created xsi:type="dcterms:W3CDTF">2025-06-27T08:43:07Z</dcterms:created>
  <dcterms:modified xsi:type="dcterms:W3CDTF">2026-02-05T14:18:52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ContentTypeId">
    <vt:lpwstr>0x01010013328F7FD8389A43AB312E4C400F7DF5</vt:lpwstr>
  </property>
  <property fmtid="{D5CDD505-2E9C-101B-9397-08002B2CF9AE}" pid="3" name="MediaServiceImageTags">
    <vt:lpwstr/>
  </property>
  <property fmtid="{D5CDD505-2E9C-101B-9397-08002B2CF9AE}" pid="4" name="MSIP_Label_26326a25-05b5-4156-bd4d-89acce8cd3b1_Enabled">
    <vt:lpwstr>True</vt:lpwstr>
  </property>
  <property fmtid="{D5CDD505-2E9C-101B-9397-08002B2CF9AE}" pid="5" name="MSIP_Label_26326a25-05b5-4156-bd4d-89acce8cd3b1_SiteId">
    <vt:lpwstr>7ffbeccf-0c1b-496c-8978-89209c2d375d</vt:lpwstr>
  </property>
  <property fmtid="{D5CDD505-2E9C-101B-9397-08002B2CF9AE}" pid="6" name="MSIP_Label_26326a25-05b5-4156-bd4d-89acce8cd3b1_SetDate">
    <vt:lpwstr>2026-02-05T14:27:17Z</vt:lpwstr>
  </property>
  <property fmtid="{D5CDD505-2E9C-101B-9397-08002B2CF9AE}" pid="7" name="MSIP_Label_26326a25-05b5-4156-bd4d-89acce8cd3b1_Name">
    <vt:lpwstr>Open within ENTSO-E</vt:lpwstr>
  </property>
  <property fmtid="{D5CDD505-2E9C-101B-9397-08002B2CF9AE}" pid="8" name="MSIP_Label_26326a25-05b5-4156-bd4d-89acce8cd3b1_ActionId">
    <vt:lpwstr>c44ec0da-ef24-449c-b2c0-3a26551f2b06</vt:lpwstr>
  </property>
  <property fmtid="{D5CDD505-2E9C-101B-9397-08002B2CF9AE}" pid="9" name="MSIP_Label_26326a25-05b5-4156-bd4d-89acce8cd3b1_Removed">
    <vt:lpwstr>False</vt:lpwstr>
  </property>
  <property fmtid="{D5CDD505-2E9C-101B-9397-08002B2CF9AE}" pid="10" name="MSIP_Label_26326a25-05b5-4156-bd4d-89acce8cd3b1_Extended_MSFT_Method">
    <vt:lpwstr>Standard</vt:lpwstr>
  </property>
  <property fmtid="{D5CDD505-2E9C-101B-9397-08002B2CF9AE}" pid="11" name="Sensitivity">
    <vt:lpwstr>Open within ENTSO-E</vt:lpwstr>
  </property>
</Properties>
</file>